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1"/>
  </p:notesMasterIdLst>
  <p:sldIdLst>
    <p:sldId id="256" r:id="rId2"/>
    <p:sldId id="294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</p:sldIdLst>
  <p:sldSz cx="12436475" cy="6994525"/>
  <p:notesSz cx="6858000" cy="9144000"/>
  <p:defaultTextStyle>
    <a:defPPr>
      <a:defRPr lang="ko-KR"/>
    </a:defPPr>
    <a:lvl1pPr marL="0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1pPr>
    <a:lvl2pPr marL="466344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2pPr>
    <a:lvl3pPr marL="932688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3pPr>
    <a:lvl4pPr marL="1399032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4pPr>
    <a:lvl5pPr marL="1865376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5pPr>
    <a:lvl6pPr marL="2331720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6pPr>
    <a:lvl7pPr marL="2798064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7pPr>
    <a:lvl8pPr marL="3264408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8pPr>
    <a:lvl9pPr marL="3730752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8D7"/>
    <a:srgbClr val="6BBD46"/>
    <a:srgbClr val="FFC000"/>
    <a:srgbClr val="696969"/>
    <a:srgbClr val="00B0F0"/>
    <a:srgbClr val="8F9564"/>
    <a:srgbClr val="003E70"/>
    <a:srgbClr val="94CDE8"/>
    <a:srgbClr val="44546A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85" autoAdjust="0"/>
    <p:restoredTop sz="85714" autoAdjust="0"/>
  </p:normalViewPr>
  <p:slideViewPr>
    <p:cSldViewPr snapToGrid="0">
      <p:cViewPr varScale="1">
        <p:scale>
          <a:sx n="45" d="100"/>
          <a:sy n="45" d="100"/>
        </p:scale>
        <p:origin x="802" y="38"/>
      </p:cViewPr>
      <p:guideLst/>
    </p:cSldViewPr>
  </p:slideViewPr>
  <p:outlineViewPr>
    <p:cViewPr>
      <p:scale>
        <a:sx n="33" d="100"/>
        <a:sy n="33" d="100"/>
      </p:scale>
      <p:origin x="0" y="-39822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978363-07AC-492D-A6E7-CADBAE0FCE7E}" type="datetimeFigureOut">
              <a:rPr lang="ko-KR" altLang="en-US" smtClean="0"/>
              <a:t>2018-01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72DBCA-ECC4-436E-BA48-62E9A24F8D9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3291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/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skccblog.tistory.com/1884 </a:t>
            </a:r>
          </a:p>
          <a:p>
            <a:pPr lvl="0" fontAlgn="base"/>
            <a:endParaRPr lang="en-US" altLang="ko-K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 fontAlgn="base"/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① 클라이언트는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자체를 실행하는 필요한 데이터를 포함하는 응용프로그램을 제출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fontAlgn="base"/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②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는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할당을 책임지는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을 시작합니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fontAlgn="base"/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③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 등록되고 클라이언트가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과 통신할 수 있게 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fontAlgn="base"/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④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는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-request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프로토콜을 통해 적절한 리소스의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를 요청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fontAlgn="base"/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⑤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 성공적으로 할당되면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는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실행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스펙를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d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게 제공하여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를 실행시킨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실행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스펙를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일반적으로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 자체와 통신하기 위해 필요한 정보를 포함하고 있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fontAlgn="base"/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⑥ 응용프로그램 코드는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서 실행되고 진행률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상태 등의 정보를 응용프로그램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스펙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프로토콜을 통해 응용프로그램의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게 제공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fontAlgn="base"/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⑦ 응용프로그램 실행 중 클라이언트는 상태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진행률 등을 얻기 위해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와 응용프로그램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스팩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프로토콜을 통해 직접 통신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 fontAlgn="base"/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⑧ 일단 응용프로그램이 완료되고 모든 필요한 작업이 종료되면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pplication Mast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는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로의 등록을 해제하고 자신의 컨테이너를 다른 용도로 사용할 수 있도록 종료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DBCA-ECC4-436E-BA48-62E9A24F8D9C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48480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Manager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클러스터마다 존재하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클러스터 전반의 자원 관리와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테스크들의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스케쥴링을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담당한다  클라이언트로부터 애플리케이션 실행 요청을 받으면 그 애플리케이션의 실행을 책임질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를 실행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또한 클러스터 내에 설치된 모든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d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와 통신을 통해서 각 서버마다 할당된 자원과 사용중인 자원의 상황을 알 수 있으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들과의 통신을 통해 필요한 자원이 무엇인지 알아내어 관리하게 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내부에는 여러 개의 컴포넌트들이 존재하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cheduler, Application Manager, Resource Tracker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세개의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메인 컴포넌트가 있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① </a:t>
            </a:r>
            <a:r>
              <a:rPr lang="en-US" altLang="ko-K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heduler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d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들의 자원 상태를 관리하며 부족한 리소스들을 배정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Schedul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는 프로그램의 상태를 검사하거나 모니터링 하지 않으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순수하게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스케쥴링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작업만 담당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스케쥴링이란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자원 상태에 따라서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테스크들의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실행 여부를 허가해 주는 역할만 담당하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 이상의 책임은 지지 않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즉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프로그램 오류나 하드웨어의 오류로 문제가 발생한 프로그램을 재 시작시켜주지 않으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프로그램에서 요구하는 리소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CPU, Disk,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네트워크등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 관련된 기능만 처리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② </a:t>
            </a:r>
            <a:r>
              <a:rPr lang="en-US" altLang="ko-K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nager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de Manag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서 특정 작업을 위해서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를 실행하고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의 상태를 관리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여기서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라는 용어가 나오는데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RN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서 실행되는 하나의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테스크를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관리하는 마스터 서버를 말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③ </a:t>
            </a:r>
            <a:r>
              <a:rPr lang="en-US" altLang="ko-K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Tracker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 아직 살아 있는지 확인하기 위해서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재 시도 최대 횟수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리고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d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 죽은 것으로 간주 될 때까지 얼마나 기다려야 하는지 등과 같은 설정 정보를 가지고 있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ko-K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de Manager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노드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당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한개씩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존재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해당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의 리소스 사용량을 모니터링 하고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관련 정보를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게 알리는 역할을 담당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pplication Mast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와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로 구성되어 있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① </a:t>
            </a:r>
            <a:r>
              <a:rPr lang="en-US" altLang="ko-K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하나의 프로그램에 대한 마스터 역할을 수행하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chedul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로부터 적절한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를 할당 받고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프로그램 실행 상태를 모니터링하고 관리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ko-KR" alt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② </a:t>
            </a:r>
            <a:r>
              <a:rPr lang="en-US" altLang="ko-KR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</a:t>
            </a:r>
            <a: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ko-KR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PU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디스크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Disk)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메모리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Memory)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등과 같은 속성으로 정의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 속성은 그래프 처리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Graph processing)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와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PI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와 같은 여러 응용 프로그램을 지원하는데 도움이 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모든 작업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job)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은 결국 여러 개의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테스크로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세분화되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각 </a:t>
            </a:r>
            <a:r>
              <a:rPr lang="ko-KR" alt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테스크는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하나의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안에서 실행이 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필요한 자원의 요청은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Mast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 담당하며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승인 여부는 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ource Manager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 담당한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Container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안에서 실행할 수 있는 프로그램은 자바 프로그램뿐만 아니라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커맨드 라인에서 실행할 수 있는 프로그램이면 모두 가능하다</a:t>
            </a:r>
            <a:r>
              <a:rPr lang="en-US" altLang="ko-KR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ko-KR" altLang="en-US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DBCA-ECC4-436E-BA48-62E9A24F8D9C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6660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"/>
          <p:cNvGrpSpPr>
            <a:grpSpLocks noChangeAspect="1"/>
          </p:cNvGrpSpPr>
          <p:nvPr userDrawn="1"/>
        </p:nvGrpSpPr>
        <p:grpSpPr>
          <a:xfrm>
            <a:off x="4389755" y="3421062"/>
            <a:ext cx="8046720" cy="3588772"/>
            <a:chOff x="2389187" y="3314382"/>
            <a:chExt cx="10061576" cy="3676650"/>
          </a:xfrm>
        </p:grpSpPr>
        <p:grpSp>
          <p:nvGrpSpPr>
            <p:cNvPr id="57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59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8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0021" y="1144706"/>
            <a:ext cx="10111895" cy="2176027"/>
          </a:xfrm>
        </p:spPr>
        <p:txBody>
          <a:bodyPr anchor="ctr">
            <a:normAutofit/>
          </a:bodyPr>
          <a:lstStyle>
            <a:lvl1pPr algn="l" latinLnBrk="0">
              <a:defRPr sz="6000">
                <a:solidFill>
                  <a:srgbClr val="00205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0021" y="3669384"/>
            <a:ext cx="9327356" cy="1580153"/>
          </a:xfrm>
        </p:spPr>
        <p:txBody>
          <a:bodyPr>
            <a:noAutofit/>
          </a:bodyPr>
          <a:lstStyle>
            <a:lvl1pPr marL="0" indent="0" algn="l" latinLnBrk="0">
              <a:buNone/>
              <a:defRPr sz="280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altLang="ko-KR" dirty="0"/>
              <a:t>Speaker Name</a:t>
            </a:r>
          </a:p>
          <a:p>
            <a:r>
              <a:rPr lang="en-US" dirty="0"/>
              <a:t>Title</a:t>
            </a:r>
          </a:p>
          <a:p>
            <a:r>
              <a:rPr lang="en-US" dirty="0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2911722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 (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"/>
          <p:cNvGrpSpPr>
            <a:grpSpLocks noChangeAspect="1"/>
          </p:cNvGrpSpPr>
          <p:nvPr userDrawn="1"/>
        </p:nvGrpSpPr>
        <p:grpSpPr>
          <a:xfrm>
            <a:off x="7659149" y="4879186"/>
            <a:ext cx="4777326" cy="2130648"/>
            <a:chOff x="2389187" y="3314382"/>
            <a:chExt cx="10061576" cy="3676650"/>
          </a:xfrm>
        </p:grpSpPr>
        <p:grpSp>
          <p:nvGrpSpPr>
            <p:cNvPr id="61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63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2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내용 개체 틀 4"/>
          <p:cNvSpPr>
            <a:spLocks noGrp="1"/>
          </p:cNvSpPr>
          <p:nvPr>
            <p:ph sz="quarter" idx="10"/>
          </p:nvPr>
        </p:nvSpPr>
        <p:spPr>
          <a:xfrm>
            <a:off x="274639" y="1697219"/>
            <a:ext cx="11881254" cy="5215445"/>
          </a:xfrm>
        </p:spPr>
        <p:txBody>
          <a:bodyPr/>
          <a:lstStyle>
            <a:lvl1pPr marL="534988" indent="-534988" latinLnBrk="0">
              <a:defRPr sz="3600">
                <a:solidFill>
                  <a:srgbClr val="0078D7"/>
                </a:solidFill>
              </a:defRPr>
            </a:lvl1pPr>
            <a:lvl2pPr marL="896938" indent="-430213" latinLnBrk="0">
              <a:defRPr sz="2400"/>
            </a:lvl2pPr>
            <a:lvl3pPr latinLnBrk="0">
              <a:defRPr/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sp>
        <p:nvSpPr>
          <p:cNvPr id="5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256436" y="1066293"/>
            <a:ext cx="11899457" cy="523099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 dirty="0"/>
              <a:t>마스터 </a:t>
            </a:r>
            <a:r>
              <a:rPr lang="ko-KR" altLang="en-US"/>
              <a:t>서브 타이틀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56021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4639" y="1706663"/>
            <a:ext cx="11887200" cy="5151337"/>
          </a:xfrm>
        </p:spPr>
        <p:txBody>
          <a:bodyPr/>
          <a:lstStyle>
            <a:lvl1pPr marL="571500" indent="-571500" latinLnBrk="0">
              <a:buFont typeface="Arial" panose="020B0604020202020204" pitchFamily="34" charset="0"/>
              <a:buChar char="•"/>
              <a:defRPr sz="3600" baseline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898525" indent="-342900" latinLnBrk="0">
              <a:buFont typeface="Arial" panose="020B0604020202020204" pitchFamily="34" charset="0"/>
              <a:buChar char="•"/>
              <a:defRPr sz="2400"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32597" indent="0">
              <a:buNone/>
              <a:defRPr/>
            </a:lvl3pPr>
            <a:lvl4pPr marL="1398895" indent="0">
              <a:buNone/>
              <a:defRPr/>
            </a:lvl4pPr>
            <a:lvl5pPr marL="1865193" indent="0">
              <a:buNone/>
              <a:defRPr/>
            </a:lvl5pPr>
          </a:lstStyle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1: font size 36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2: font size 36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endParaRPr lang="ko-KR" alt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5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256436" y="1066293"/>
            <a:ext cx="11899457" cy="523099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 dirty="0"/>
              <a:t>마스터 </a:t>
            </a:r>
            <a:r>
              <a:rPr lang="ko-KR" altLang="en-US"/>
              <a:t>서브 타이틀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39667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 - no bullet (하늘색 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0"/>
          <p:cNvSpPr/>
          <p:nvPr userDrawn="1"/>
        </p:nvSpPr>
        <p:spPr>
          <a:xfrm>
            <a:off x="0" y="0"/>
            <a:ext cx="12436475" cy="3265714"/>
          </a:xfrm>
          <a:prstGeom prst="rect">
            <a:avLst/>
          </a:prstGeom>
          <a:solidFill>
            <a:srgbClr val="94CDE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60" name="Picture 9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97062"/>
            <a:ext cx="12436475" cy="50974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4639" y="1363766"/>
            <a:ext cx="11887200" cy="5433849"/>
          </a:xfrm>
        </p:spPr>
        <p:txBody>
          <a:bodyPr/>
          <a:lstStyle>
            <a:lvl1pPr marL="0" indent="0" latinLnBrk="0">
              <a:buFont typeface="Arial" panose="020B0604020202020204" pitchFamily="34" charset="0"/>
              <a:buNone/>
              <a:defRPr sz="360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361950" indent="0" latinLnBrk="0">
              <a:buNone/>
              <a:defRPr sz="2400"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32597" indent="0">
              <a:buNone/>
              <a:defRPr/>
            </a:lvl3pPr>
            <a:lvl4pPr marL="1398895" indent="0">
              <a:buNone/>
              <a:defRPr/>
            </a:lvl4pPr>
            <a:lvl5pPr marL="1865193" indent="0">
              <a:buNone/>
              <a:defRPr/>
            </a:lvl5pPr>
          </a:lstStyle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1: font size 36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2: font size 36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575290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 (하늘색 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0"/>
          <p:cNvSpPr/>
          <p:nvPr userDrawn="1"/>
        </p:nvSpPr>
        <p:spPr>
          <a:xfrm>
            <a:off x="0" y="0"/>
            <a:ext cx="12436475" cy="3265714"/>
          </a:xfrm>
          <a:prstGeom prst="rect">
            <a:avLst/>
          </a:prstGeom>
          <a:solidFill>
            <a:srgbClr val="94CDE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4" name="Picture 9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97062"/>
            <a:ext cx="12436475" cy="509746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4639" y="1706663"/>
            <a:ext cx="11887200" cy="5116831"/>
          </a:xfrm>
        </p:spPr>
        <p:txBody>
          <a:bodyPr/>
          <a:lstStyle>
            <a:lvl1pPr marL="571500" indent="-571500" latinLnBrk="0">
              <a:buFont typeface="Arial" panose="020B0604020202020204" pitchFamily="34" charset="0"/>
              <a:buChar char="•"/>
              <a:defRPr sz="360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898525" indent="-342900" latinLnBrk="0">
              <a:buFont typeface="Arial" panose="020B0604020202020204" pitchFamily="34" charset="0"/>
              <a:buChar char="•"/>
              <a:defRPr sz="2400"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32597" indent="0">
              <a:buNone/>
              <a:defRPr/>
            </a:lvl3pPr>
            <a:lvl4pPr marL="1398895" indent="0">
              <a:buNone/>
              <a:defRPr/>
            </a:lvl4pPr>
            <a:lvl5pPr marL="1865193" indent="0">
              <a:buNone/>
              <a:defRPr/>
            </a:lvl5pPr>
          </a:lstStyle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1: font size 36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2: font size 36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endParaRPr lang="ko-KR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8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256436" y="1066293"/>
            <a:ext cx="11899457" cy="523099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 dirty="0"/>
              <a:t>마스터 </a:t>
            </a:r>
            <a:r>
              <a:rPr lang="ko-KR" altLang="en-US"/>
              <a:t>서브 타이틀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97574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가지 항목 (하늘색 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0"/>
          <p:cNvSpPr/>
          <p:nvPr userDrawn="1"/>
        </p:nvSpPr>
        <p:spPr>
          <a:xfrm>
            <a:off x="0" y="0"/>
            <a:ext cx="12436475" cy="3265714"/>
          </a:xfrm>
          <a:prstGeom prst="rect">
            <a:avLst/>
          </a:prstGeom>
          <a:solidFill>
            <a:srgbClr val="94CDE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0" name="Picture 9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97062"/>
            <a:ext cx="12436475" cy="50974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9" name="텍스트 개체 틀 4"/>
          <p:cNvSpPr>
            <a:spLocks noGrp="1"/>
          </p:cNvSpPr>
          <p:nvPr>
            <p:ph type="body" sz="quarter" idx="14"/>
          </p:nvPr>
        </p:nvSpPr>
        <p:spPr>
          <a:xfrm>
            <a:off x="245066" y="1666268"/>
            <a:ext cx="2695872" cy="2743200"/>
          </a:xfrm>
          <a:solidFill>
            <a:srgbClr val="0078D7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10" name="텍스트 개체 틀 4"/>
          <p:cNvSpPr>
            <a:spLocks noGrp="1"/>
          </p:cNvSpPr>
          <p:nvPr>
            <p:ph type="body" sz="quarter" idx="15"/>
          </p:nvPr>
        </p:nvSpPr>
        <p:spPr>
          <a:xfrm>
            <a:off x="3041819" y="1670947"/>
            <a:ext cx="2695872" cy="2743200"/>
          </a:xfrm>
          <a:solidFill>
            <a:srgbClr val="0064B5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11" name="텍스트 개체 틀 4"/>
          <p:cNvSpPr>
            <a:spLocks noGrp="1"/>
          </p:cNvSpPr>
          <p:nvPr>
            <p:ph type="body" sz="quarter" idx="16"/>
          </p:nvPr>
        </p:nvSpPr>
        <p:spPr>
          <a:xfrm>
            <a:off x="5830699" y="1670947"/>
            <a:ext cx="2695872" cy="2743200"/>
          </a:xfrm>
          <a:solidFill>
            <a:srgbClr val="003E70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12" name="텍스트 개체 틀 4"/>
          <p:cNvSpPr>
            <a:spLocks noGrp="1"/>
          </p:cNvSpPr>
          <p:nvPr>
            <p:ph type="body" sz="quarter" idx="17"/>
          </p:nvPr>
        </p:nvSpPr>
        <p:spPr>
          <a:xfrm>
            <a:off x="8619579" y="1677858"/>
            <a:ext cx="2695872" cy="2743200"/>
          </a:xfrm>
          <a:solidFill>
            <a:srgbClr val="002050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695988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절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sp>
        <p:nvSpPr>
          <p:cNvPr id="61" name="내용 개체 틀 3"/>
          <p:cNvSpPr>
            <a:spLocks noGrp="1"/>
          </p:cNvSpPr>
          <p:nvPr>
            <p:ph sz="quarter" idx="10"/>
          </p:nvPr>
        </p:nvSpPr>
        <p:spPr>
          <a:xfrm>
            <a:off x="274639" y="1206749"/>
            <a:ext cx="5814787" cy="5490911"/>
          </a:xfrm>
          <a:solidFill>
            <a:srgbClr val="0078D7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36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809061" indent="-342900" defTabSz="896334" fontAlgn="base" latinLnBrk="0">
              <a:lnSpc>
                <a:spcPct val="90000"/>
              </a:lnSpc>
              <a:spcBef>
                <a:spcPts val="196"/>
              </a:spcBef>
              <a:spcAft>
                <a:spcPts val="1200"/>
              </a:spcAft>
              <a:buFont typeface="맑은 고딕" panose="020B0503020000020004" pitchFamily="50" charset="-127"/>
              <a:buChar char="▶"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ko-KR" altLang="en-US" dirty="0"/>
          </a:p>
        </p:txBody>
      </p:sp>
      <p:sp>
        <p:nvSpPr>
          <p:cNvPr id="62" name="내용 개체 틀 3"/>
          <p:cNvSpPr>
            <a:spLocks noGrp="1"/>
          </p:cNvSpPr>
          <p:nvPr>
            <p:ph sz="quarter" idx="11"/>
          </p:nvPr>
        </p:nvSpPr>
        <p:spPr>
          <a:xfrm>
            <a:off x="6089426" y="1206749"/>
            <a:ext cx="5814787" cy="5490911"/>
          </a:xfrm>
          <a:solidFill>
            <a:srgbClr val="94CDE8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3600">
                <a:solidFill>
                  <a:srgbClr val="003E7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rgbClr val="003E70"/>
                </a:solidFill>
              </a:defRPr>
            </a:lvl2pPr>
            <a:lvl3pPr marL="809061" indent="-342900" defTabSz="896334" fontAlgn="base" latinLnBrk="0">
              <a:lnSpc>
                <a:spcPct val="90000"/>
              </a:lnSpc>
              <a:spcBef>
                <a:spcPts val="196"/>
              </a:spcBef>
              <a:spcAft>
                <a:spcPts val="1200"/>
              </a:spcAft>
              <a:buFont typeface="맑은 고딕" panose="020B0503020000020004" pitchFamily="50" charset="-127"/>
              <a:buChar char="▶"/>
              <a:defRPr>
                <a:solidFill>
                  <a:srgbClr val="003E70"/>
                </a:solidFill>
              </a:defRPr>
            </a:lvl3pPr>
            <a:lvl4pPr marL="1398895" indent="0">
              <a:buNone/>
              <a:defRPr>
                <a:solidFill>
                  <a:srgbClr val="003E70"/>
                </a:solidFill>
              </a:defRPr>
            </a:lvl4pPr>
            <a:lvl5pPr marL="1865193" indent="0">
              <a:buNone/>
              <a:defRPr>
                <a:solidFill>
                  <a:srgbClr val="003E70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065670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소스 코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Software Code Here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quarter" idx="10" hasCustomPrompt="1"/>
          </p:nvPr>
        </p:nvSpPr>
        <p:spPr>
          <a:xfrm>
            <a:off x="274639" y="1328905"/>
            <a:ext cx="11889564" cy="5494589"/>
          </a:xfrm>
        </p:spPr>
        <p:txBody>
          <a:bodyPr>
            <a:normAutofit/>
          </a:bodyPr>
          <a:lstStyle>
            <a:lvl1pPr marL="0" indent="0" latinLnBrk="0">
              <a:buNone/>
              <a:defRPr sz="3300"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altLang="ko-KR" dirty="0"/>
              <a:t>Software cod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84570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64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 latinLnBrk="0"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 latinLnBrk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Demo Subtitle</a:t>
            </a:r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" y="0"/>
            <a:ext cx="12434711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396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L slide">
    <p:bg>
      <p:bgPr>
        <a:solidFill>
          <a:srgbClr val="6C42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 latinLnBrk="0"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Hands on Lab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 latinLnBrk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Hands on Lab Subtitle</a:t>
            </a:r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" y="0"/>
            <a:ext cx="12434711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114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87592"/>
            <a:ext cx="5486399" cy="1920526"/>
          </a:xfrm>
        </p:spPr>
        <p:txBody>
          <a:bodyPr>
            <a:spAutoFit/>
          </a:bodyPr>
          <a:lstStyle>
            <a:lvl1pPr latinLnBrk="0"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13437" y="0"/>
            <a:ext cx="6550025" cy="6994525"/>
          </a:xfrm>
        </p:spPr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그림을 추가하려면 아이콘을 클릭하십시오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966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중간 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" name="Picture 136"/>
          <p:cNvPicPr>
            <a:picLocks noChangeAspect="1"/>
          </p:cNvPicPr>
          <p:nvPr userDrawn="1"/>
        </p:nvPicPr>
        <p:blipFill rotWithShape="1">
          <a:blip r:embed="rId2"/>
          <a:srcRect l="-10871" t="-350" r="15472" b="24475"/>
          <a:stretch/>
        </p:blipFill>
        <p:spPr>
          <a:xfrm>
            <a:off x="5065650" y="3848419"/>
            <a:ext cx="7369945" cy="31456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0021" y="1275127"/>
            <a:ext cx="10111895" cy="2905136"/>
          </a:xfrm>
        </p:spPr>
        <p:txBody>
          <a:bodyPr anchor="ctr">
            <a:normAutofit/>
          </a:bodyPr>
          <a:lstStyle>
            <a:lvl1pPr algn="l" latinLnBrk="0">
              <a:defRPr sz="5400">
                <a:solidFill>
                  <a:srgbClr val="00205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부제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0021" y="4349578"/>
            <a:ext cx="9327356" cy="899959"/>
          </a:xfrm>
        </p:spPr>
        <p:txBody>
          <a:bodyPr>
            <a:noAutofit/>
          </a:bodyPr>
          <a:lstStyle>
            <a:lvl1pPr marL="0" indent="0" algn="l" latinLnBrk="0">
              <a:buNone/>
              <a:defRPr sz="3600" baseline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ko-KR" altLang="en-US"/>
              <a:t>설명</a:t>
            </a:r>
            <a:r>
              <a:rPr lang="en-US" altLang="ko-KR" dirty="0"/>
              <a:t> </a:t>
            </a:r>
            <a:r>
              <a:rPr lang="ko-KR" altLang="en-US"/>
              <a:t>편집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92777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42479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 - no bullet (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5"/>
          <p:cNvGrpSpPr>
            <a:grpSpLocks noChangeAspect="1"/>
          </p:cNvGrpSpPr>
          <p:nvPr userDrawn="1"/>
        </p:nvGrpSpPr>
        <p:grpSpPr>
          <a:xfrm>
            <a:off x="7659149" y="4879186"/>
            <a:ext cx="4777326" cy="2130648"/>
            <a:chOff x="2389187" y="3314382"/>
            <a:chExt cx="10061576" cy="3676650"/>
          </a:xfrm>
        </p:grpSpPr>
        <p:grpSp>
          <p:nvGrpSpPr>
            <p:cNvPr id="14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16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sp>
        <p:nvSpPr>
          <p:cNvPr id="59" name="내용 개체 틀 4"/>
          <p:cNvSpPr>
            <a:spLocks noGrp="1"/>
          </p:cNvSpPr>
          <p:nvPr>
            <p:ph sz="quarter" idx="10"/>
          </p:nvPr>
        </p:nvSpPr>
        <p:spPr>
          <a:xfrm>
            <a:off x="274639" y="1319769"/>
            <a:ext cx="11881254" cy="5553705"/>
          </a:xfrm>
        </p:spPr>
        <p:txBody>
          <a:bodyPr/>
          <a:lstStyle>
            <a:lvl1pPr marL="0" indent="0" latinLnBrk="0">
              <a:buNone/>
              <a:defRPr sz="360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361950" indent="0" latinLnBrk="0">
              <a:buNone/>
              <a:defRPr sz="24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896938" indent="0" latinLnBrk="0">
              <a:buNone/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  <p:extLst>
      <p:ext uri="{BB962C8B-B14F-4D97-AF65-F5344CB8AC3E}">
        <p14:creationId xmlns:p14="http://schemas.microsoft.com/office/powerpoint/2010/main" val="444155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 -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4639" y="1380226"/>
            <a:ext cx="11887200" cy="5477774"/>
          </a:xfrm>
        </p:spPr>
        <p:txBody>
          <a:bodyPr/>
          <a:lstStyle>
            <a:lvl1pPr marL="0" indent="0" latinLnBrk="0">
              <a:buFont typeface="Arial" panose="020B0604020202020204" pitchFamily="34" charset="0"/>
              <a:buNone/>
              <a:defRPr sz="3600" baseline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49263" indent="0" latinLnBrk="0">
              <a:buNone/>
              <a:defRPr sz="2400"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32597" indent="0">
              <a:buNone/>
              <a:defRPr/>
            </a:lvl3pPr>
            <a:lvl4pPr marL="1398895" indent="0">
              <a:buNone/>
              <a:defRPr/>
            </a:lvl4pPr>
            <a:lvl5pPr marL="1865193" indent="0">
              <a:buNone/>
              <a:defRPr/>
            </a:lvl5pPr>
          </a:lstStyle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1: font size 36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/>
              <a:t>토픽 </a:t>
            </a:r>
            <a:r>
              <a:rPr lang="en-US" altLang="ko-KR" dirty="0"/>
              <a:t>2: font size 36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4</a:t>
            </a:r>
          </a:p>
          <a:p>
            <a:pPr lvl="1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42414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 - no bullet (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grpSp>
        <p:nvGrpSpPr>
          <p:cNvPr id="59" name="Group 5"/>
          <p:cNvGrpSpPr>
            <a:grpSpLocks noChangeAspect="1"/>
          </p:cNvGrpSpPr>
          <p:nvPr userDrawn="1"/>
        </p:nvGrpSpPr>
        <p:grpSpPr>
          <a:xfrm>
            <a:off x="7659149" y="4879186"/>
            <a:ext cx="4777326" cy="2130648"/>
            <a:chOff x="2389187" y="3314382"/>
            <a:chExt cx="10061576" cy="3676650"/>
          </a:xfrm>
        </p:grpSpPr>
        <p:grpSp>
          <p:nvGrpSpPr>
            <p:cNvPr id="60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62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1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8472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가지 항목 흰색 배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"/>
          <p:cNvGrpSpPr>
            <a:grpSpLocks noChangeAspect="1"/>
          </p:cNvGrpSpPr>
          <p:nvPr userDrawn="1"/>
        </p:nvGrpSpPr>
        <p:grpSpPr>
          <a:xfrm>
            <a:off x="7659149" y="4879186"/>
            <a:ext cx="4777326" cy="2130648"/>
            <a:chOff x="2389187" y="3314382"/>
            <a:chExt cx="10061576" cy="3676650"/>
          </a:xfrm>
        </p:grpSpPr>
        <p:grpSp>
          <p:nvGrpSpPr>
            <p:cNvPr id="54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56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5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4"/>
          </p:nvPr>
        </p:nvSpPr>
        <p:spPr>
          <a:xfrm>
            <a:off x="245066" y="1666268"/>
            <a:ext cx="2695872" cy="2743200"/>
          </a:xfrm>
          <a:solidFill>
            <a:srgbClr val="0078D7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9" name="텍스트 개체 틀 4"/>
          <p:cNvSpPr>
            <a:spLocks noGrp="1"/>
          </p:cNvSpPr>
          <p:nvPr>
            <p:ph type="body" sz="quarter" idx="15"/>
          </p:nvPr>
        </p:nvSpPr>
        <p:spPr>
          <a:xfrm>
            <a:off x="3041819" y="1670947"/>
            <a:ext cx="2695872" cy="2743200"/>
          </a:xfrm>
          <a:solidFill>
            <a:srgbClr val="0064B5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0" name="텍스트 개체 틀 4"/>
          <p:cNvSpPr>
            <a:spLocks noGrp="1"/>
          </p:cNvSpPr>
          <p:nvPr>
            <p:ph type="body" sz="quarter" idx="16"/>
          </p:nvPr>
        </p:nvSpPr>
        <p:spPr>
          <a:xfrm>
            <a:off x="5830699" y="1670947"/>
            <a:ext cx="2695872" cy="2743200"/>
          </a:xfrm>
          <a:solidFill>
            <a:srgbClr val="003E70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1" name="텍스트 개체 틀 4"/>
          <p:cNvSpPr>
            <a:spLocks noGrp="1"/>
          </p:cNvSpPr>
          <p:nvPr>
            <p:ph type="body" sz="quarter" idx="17"/>
          </p:nvPr>
        </p:nvSpPr>
        <p:spPr>
          <a:xfrm>
            <a:off x="8619579" y="1677858"/>
            <a:ext cx="2695872" cy="2743200"/>
          </a:xfrm>
          <a:solidFill>
            <a:srgbClr val="002050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1874055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세가지 항목 흰색 배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"/>
          <p:cNvGrpSpPr>
            <a:grpSpLocks noChangeAspect="1"/>
          </p:cNvGrpSpPr>
          <p:nvPr userDrawn="1"/>
        </p:nvGrpSpPr>
        <p:grpSpPr>
          <a:xfrm>
            <a:off x="7659149" y="4879186"/>
            <a:ext cx="4777326" cy="2130648"/>
            <a:chOff x="2389187" y="3314382"/>
            <a:chExt cx="10061576" cy="3676650"/>
          </a:xfrm>
        </p:grpSpPr>
        <p:grpSp>
          <p:nvGrpSpPr>
            <p:cNvPr id="53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55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4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quarter" idx="10"/>
          </p:nvPr>
        </p:nvSpPr>
        <p:spPr>
          <a:xfrm>
            <a:off x="257635" y="1680526"/>
            <a:ext cx="3617176" cy="3635438"/>
          </a:xfrm>
          <a:solidFill>
            <a:srgbClr val="1985DB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330" name="내용 개체 틀 3"/>
          <p:cNvSpPr>
            <a:spLocks noGrp="1"/>
          </p:cNvSpPr>
          <p:nvPr>
            <p:ph sz="quarter" idx="11"/>
          </p:nvPr>
        </p:nvSpPr>
        <p:spPr>
          <a:xfrm>
            <a:off x="3931416" y="1678111"/>
            <a:ext cx="3617176" cy="3635438"/>
          </a:xfrm>
          <a:solidFill>
            <a:srgbClr val="D83B01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331" name="내용 개체 틀 3"/>
          <p:cNvSpPr>
            <a:spLocks noGrp="1"/>
          </p:cNvSpPr>
          <p:nvPr>
            <p:ph sz="quarter" idx="12"/>
          </p:nvPr>
        </p:nvSpPr>
        <p:spPr>
          <a:xfrm>
            <a:off x="7596112" y="1676416"/>
            <a:ext cx="3617176" cy="3635438"/>
          </a:xfrm>
          <a:solidFill>
            <a:srgbClr val="6C429C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113530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세가지 항목 2 흰색 배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"/>
          <p:cNvGrpSpPr>
            <a:grpSpLocks noChangeAspect="1"/>
          </p:cNvGrpSpPr>
          <p:nvPr userDrawn="1"/>
        </p:nvGrpSpPr>
        <p:grpSpPr>
          <a:xfrm>
            <a:off x="7659149" y="4879186"/>
            <a:ext cx="4777326" cy="2130648"/>
            <a:chOff x="2389187" y="3314382"/>
            <a:chExt cx="10061576" cy="3676650"/>
          </a:xfrm>
        </p:grpSpPr>
        <p:grpSp>
          <p:nvGrpSpPr>
            <p:cNvPr id="53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55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4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quarter" idx="10"/>
          </p:nvPr>
        </p:nvSpPr>
        <p:spPr>
          <a:xfrm>
            <a:off x="257635" y="1680526"/>
            <a:ext cx="3617176" cy="3635438"/>
          </a:xfrm>
          <a:solidFill>
            <a:srgbClr val="1985DB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330" name="내용 개체 틀 3"/>
          <p:cNvSpPr>
            <a:spLocks noGrp="1"/>
          </p:cNvSpPr>
          <p:nvPr>
            <p:ph sz="quarter" idx="11"/>
          </p:nvPr>
        </p:nvSpPr>
        <p:spPr>
          <a:xfrm>
            <a:off x="3931416" y="1687736"/>
            <a:ext cx="3617176" cy="3635438"/>
          </a:xfrm>
          <a:solidFill>
            <a:srgbClr val="D83B01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331" name="내용 개체 틀 3"/>
          <p:cNvSpPr>
            <a:spLocks noGrp="1"/>
          </p:cNvSpPr>
          <p:nvPr>
            <p:ph sz="quarter" idx="12"/>
          </p:nvPr>
        </p:nvSpPr>
        <p:spPr>
          <a:xfrm>
            <a:off x="7592275" y="1685025"/>
            <a:ext cx="3617176" cy="3635438"/>
          </a:xfrm>
          <a:solidFill>
            <a:srgbClr val="D0CECE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71703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 -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852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047616-5CE6-4DA3-A2F8-BDCA83C0AD40}" type="datetimeFigureOut">
              <a:rPr lang="ko-KR" altLang="en-US" smtClean="0"/>
              <a:t>2018-01-1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8C40FD-27C0-49C3-A7E5-3A17B94E5C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04574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0" r:id="rId2"/>
    <p:sldLayoutId id="2147483662" r:id="rId3"/>
    <p:sldLayoutId id="2147483674" r:id="rId4"/>
    <p:sldLayoutId id="2147483675" r:id="rId5"/>
    <p:sldLayoutId id="2147483679" r:id="rId6"/>
    <p:sldLayoutId id="2147483681" r:id="rId7"/>
    <p:sldLayoutId id="2147483682" r:id="rId8"/>
    <p:sldLayoutId id="2147483676" r:id="rId9"/>
    <p:sldLayoutId id="2147483672" r:id="rId10"/>
    <p:sldLayoutId id="2147483673" r:id="rId11"/>
    <p:sldLayoutId id="2147483678" r:id="rId12"/>
    <p:sldLayoutId id="2147483677" r:id="rId13"/>
    <p:sldLayoutId id="2147483680" r:id="rId14"/>
    <p:sldLayoutId id="2147483683" r:id="rId15"/>
    <p:sldLayoutId id="2147483684" r:id="rId16"/>
    <p:sldLayoutId id="2147483686" r:id="rId17"/>
    <p:sldLayoutId id="2147483687" r:id="rId18"/>
    <p:sldLayoutId id="2147483688" r:id="rId19"/>
    <p:sldLayoutId id="2147483689" r:id="rId20"/>
  </p:sldLayoutIdLst>
  <p:txStyles>
    <p:titleStyle>
      <a:lvl1pPr algn="l" defTabSz="932597" rtl="0" eaLnBrk="1" latinLnBrk="1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1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microsoft.com/office/2007/relationships/hdphoto" Target="../media/hdphoto2.wdp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slideLayout" Target="../slideLayouts/slideLayout3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19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image" Target="../media/image23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25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9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://hadoopecosystemable.github.io/" TargetMode="Externa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image" Target="../media/image28.jpeg"/><Relationship Id="rId7" Type="http://schemas.openxmlformats.org/officeDocument/2006/relationships/image" Target="../media/image10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image" Target="../media/image26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32.png"/><Relationship Id="rId5" Type="http://schemas.openxmlformats.org/officeDocument/2006/relationships/image" Target="../media/image30.jpeg"/><Relationship Id="rId15" Type="http://schemas.openxmlformats.org/officeDocument/2006/relationships/image" Target="../media/image36.png"/><Relationship Id="rId10" Type="http://schemas.openxmlformats.org/officeDocument/2006/relationships/image" Target="../media/image12.png"/><Relationship Id="rId19" Type="http://schemas.openxmlformats.org/officeDocument/2006/relationships/image" Target="../media/image40.png"/><Relationship Id="rId4" Type="http://schemas.openxmlformats.org/officeDocument/2006/relationships/image" Target="../media/image29.gif"/><Relationship Id="rId9" Type="http://schemas.openxmlformats.org/officeDocument/2006/relationships/image" Target="../media/image9.png"/><Relationship Id="rId14" Type="http://schemas.openxmlformats.org/officeDocument/2006/relationships/image" Target="../media/image35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/>
              <a:t>Introduction to Hadoop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86174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DFS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altLang="ko-KR" sz="3200" dirty="0"/>
              <a:t>HDFS</a:t>
            </a:r>
            <a:r>
              <a:rPr lang="ko-KR" altLang="en-US" sz="3200"/>
              <a:t>는 분산 파일 시스템</a:t>
            </a:r>
            <a:endParaRPr lang="en-US" altLang="ko-KR" sz="3200" dirty="0"/>
          </a:p>
          <a:p>
            <a:pPr lvl="1"/>
            <a:r>
              <a:rPr lang="ko-KR" altLang="en-US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몇 개의 </a:t>
            </a:r>
            <a:r>
              <a:rPr lang="ko-KR" altLang="en-US" sz="2000" dirty="0" err="1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노드에서</a:t>
            </a:r>
            <a:r>
              <a:rPr lang="ko-KR" altLang="en-US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 수 </a:t>
            </a:r>
            <a:r>
              <a:rPr lang="ko-KR" altLang="en-US" sz="2000" dirty="0" err="1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천개의</a:t>
            </a:r>
            <a:r>
              <a:rPr lang="ko-KR" altLang="en-US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 </a:t>
            </a:r>
            <a:r>
              <a:rPr lang="ko-KR" altLang="en-US" sz="2000" dirty="0" err="1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노드로</a:t>
            </a:r>
            <a:r>
              <a:rPr lang="ko-KR" altLang="en-US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 확장</a:t>
            </a:r>
            <a:endParaRPr lang="en-US" altLang="ko-KR" sz="2000" dirty="0">
              <a:gradFill>
                <a:gsLst>
                  <a:gs pos="0">
                    <a:schemeClr val="tx2"/>
                  </a:gs>
                  <a:gs pos="100000">
                    <a:schemeClr val="tx2"/>
                  </a:gs>
                </a:gsLst>
                <a:lin ang="5400000" scaled="0"/>
              </a:gradFill>
            </a:endParaRPr>
          </a:p>
          <a:p>
            <a:pPr lvl="1"/>
            <a:r>
              <a:rPr lang="ko-KR" altLang="en-US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파일은 여러 대의 </a:t>
            </a:r>
            <a:r>
              <a:rPr lang="ko-KR" altLang="en-US" sz="2000" dirty="0" err="1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노드로</a:t>
            </a:r>
            <a:r>
              <a:rPr lang="ko-KR" altLang="en-US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 펼쳐져서 저장될 수 있음</a:t>
            </a:r>
            <a:endParaRPr lang="en-US" altLang="ko-KR" sz="2000" dirty="0">
              <a:gradFill>
                <a:gsLst>
                  <a:gs pos="0">
                    <a:schemeClr val="tx2"/>
                  </a:gs>
                  <a:gs pos="100000">
                    <a:schemeClr val="tx2"/>
                  </a:gs>
                </a:gsLst>
                <a:lin ang="5400000" scaled="0"/>
              </a:gradFill>
            </a:endParaRPr>
          </a:p>
          <a:p>
            <a:r>
              <a:rPr lang="en-US" altLang="ko-KR" sz="3200" dirty="0"/>
              <a:t>HDFS</a:t>
            </a:r>
            <a:r>
              <a:rPr lang="ko-KR" altLang="en-US" sz="3200"/>
              <a:t>는 대용량 데이터를 저장할 수 있음</a:t>
            </a:r>
            <a:endParaRPr lang="en-US" altLang="ko-KR" sz="3200" dirty="0"/>
          </a:p>
          <a:p>
            <a:pPr lvl="1"/>
            <a:r>
              <a:rPr lang="ko-KR" altLang="en-US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단일 </a:t>
            </a:r>
            <a:r>
              <a:rPr lang="ko-KR" altLang="en-US" sz="2000" dirty="0" err="1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노드의</a:t>
            </a:r>
            <a:r>
              <a:rPr lang="ko-KR" altLang="en-US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 용량보다 큰 파일을 포함하는</a:t>
            </a:r>
            <a:r>
              <a:rPr lang="en-US" altLang="ko-KR" sz="2000" dirty="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,</a:t>
            </a:r>
            <a:r>
              <a:rPr lang="ko-KR" altLang="en-US" sz="2000">
                <a:gradFill>
                  <a:gsLst>
                    <a:gs pos="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rPr>
              <a:t> 대용량 파일도 지원</a:t>
            </a:r>
            <a:endParaRPr lang="en-US" altLang="ko-KR" sz="2000" dirty="0">
              <a:gradFill>
                <a:gsLst>
                  <a:gs pos="0">
                    <a:schemeClr val="tx2"/>
                  </a:gs>
                  <a:gs pos="100000">
                    <a:schemeClr val="tx2"/>
                  </a:gs>
                </a:gsLst>
                <a:lin ang="5400000" scaled="0"/>
              </a:gradFill>
            </a:endParaRPr>
          </a:p>
          <a:p>
            <a:r>
              <a:rPr lang="en-US" altLang="ko-KR" sz="3200" dirty="0"/>
              <a:t>HDFS</a:t>
            </a:r>
            <a:r>
              <a:rPr lang="ko-KR" altLang="en-US" sz="3200"/>
              <a:t>는 비관계형 데이터를 포함</a:t>
            </a:r>
            <a:endParaRPr lang="en-US" altLang="ko-KR" sz="3200" dirty="0"/>
          </a:p>
          <a:p>
            <a:endParaRPr lang="ko-KR" altLang="en-US" sz="3200" dirty="0"/>
          </a:p>
        </p:txBody>
      </p:sp>
      <p:grpSp>
        <p:nvGrpSpPr>
          <p:cNvPr id="4" name="Group 5"/>
          <p:cNvGrpSpPr/>
          <p:nvPr/>
        </p:nvGrpSpPr>
        <p:grpSpPr>
          <a:xfrm>
            <a:off x="422256" y="4298932"/>
            <a:ext cx="11303559" cy="2169952"/>
            <a:chOff x="430722" y="4384638"/>
            <a:chExt cx="11530219" cy="2213464"/>
          </a:xfrm>
        </p:grpSpPr>
        <p:sp>
          <p:nvSpPr>
            <p:cNvPr id="5" name="Rectangle 4"/>
            <p:cNvSpPr/>
            <p:nvPr>
              <p:custDataLst>
                <p:tags r:id="rId1"/>
              </p:custDataLst>
            </p:nvPr>
          </p:nvSpPr>
          <p:spPr bwMode="auto">
            <a:xfrm>
              <a:off x="430722" y="4384638"/>
              <a:ext cx="11530219" cy="22134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9639" tIns="89642" rIns="89639" bIns="4481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3505" fontAlgn="base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80000"/>
              </a:pPr>
              <a:endParaRPr lang="en-US" sz="1372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595959"/>
                </a:solidFill>
              </a:endParaRPr>
            </a:p>
          </p:txBody>
        </p:sp>
        <p:grpSp>
          <p:nvGrpSpPr>
            <p:cNvPr id="6" name="Group 224"/>
            <p:cNvGrpSpPr/>
            <p:nvPr/>
          </p:nvGrpSpPr>
          <p:grpSpPr>
            <a:xfrm>
              <a:off x="3645874" y="4536119"/>
              <a:ext cx="5099914" cy="1910503"/>
              <a:chOff x="2891046" y="4687598"/>
              <a:chExt cx="5099914" cy="1910503"/>
            </a:xfrm>
          </p:grpSpPr>
          <p:grpSp>
            <p:nvGrpSpPr>
              <p:cNvPr id="7" name="Group 43"/>
              <p:cNvGrpSpPr/>
              <p:nvPr/>
            </p:nvGrpSpPr>
            <p:grpSpPr>
              <a:xfrm>
                <a:off x="2891046" y="4925412"/>
                <a:ext cx="1108811" cy="1452144"/>
                <a:chOff x="1789900" y="2805422"/>
                <a:chExt cx="1292057" cy="1882691"/>
              </a:xfrm>
            </p:grpSpPr>
            <p:sp>
              <p:nvSpPr>
                <p:cNvPr id="64" name="TextBox 63"/>
                <p:cNvSpPr txBox="1"/>
                <p:nvPr/>
              </p:nvSpPr>
              <p:spPr>
                <a:xfrm>
                  <a:off x="2010919" y="4432734"/>
                  <a:ext cx="850018" cy="25537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 defTabSz="913505" fontAlgn="base">
                    <a:lnSpc>
                      <a:spcPct val="80000"/>
                    </a:lnSpc>
                    <a:spcBef>
                      <a:spcPct val="20000"/>
                    </a:spcBef>
                    <a:spcAft>
                      <a:spcPct val="0"/>
                    </a:spcAft>
                    <a:buSzPct val="80000"/>
                  </a:pPr>
                  <a:r>
                    <a:rPr lang="en-US" sz="1568" dirty="0">
                      <a:gradFill>
                        <a:gsLst>
                          <a:gs pos="0">
                            <a:srgbClr val="000000">
                              <a:lumMod val="95000"/>
                              <a:lumOff val="5000"/>
                            </a:srgbClr>
                          </a:gs>
                          <a:gs pos="100000">
                            <a:srgbClr val="000000">
                              <a:lumMod val="95000"/>
                              <a:lumOff val="5000"/>
                            </a:srgbClr>
                          </a:gs>
                        </a:gsLst>
                        <a:lin ang="5400000" scaled="0"/>
                      </a:gradFill>
                      <a:ea typeface="MS PGothic" charset="0"/>
                    </a:rPr>
                    <a:t>Files</a:t>
                  </a:r>
                </a:p>
              </p:txBody>
            </p:sp>
            <p:grpSp>
              <p:nvGrpSpPr>
                <p:cNvPr id="65" name="Group 45"/>
                <p:cNvGrpSpPr/>
                <p:nvPr/>
              </p:nvGrpSpPr>
              <p:grpSpPr>
                <a:xfrm>
                  <a:off x="1789900" y="2805422"/>
                  <a:ext cx="1292057" cy="1532342"/>
                  <a:chOff x="8791575" y="-838200"/>
                  <a:chExt cx="973138" cy="1154113"/>
                </a:xfrm>
              </p:grpSpPr>
              <p:sp>
                <p:nvSpPr>
                  <p:cNvPr id="66" name="Freeform 7" hidden="1"/>
                  <p:cNvSpPr>
                    <a:spLocks/>
                  </p:cNvSpPr>
                  <p:nvPr/>
                </p:nvSpPr>
                <p:spPr bwMode="auto">
                  <a:xfrm>
                    <a:off x="8829675" y="-808037"/>
                    <a:ext cx="896938" cy="1082675"/>
                  </a:xfrm>
                  <a:custGeom>
                    <a:avLst/>
                    <a:gdLst>
                      <a:gd name="T0" fmla="*/ 0 w 565"/>
                      <a:gd name="T1" fmla="*/ 9 h 682"/>
                      <a:gd name="T2" fmla="*/ 7 w 565"/>
                      <a:gd name="T3" fmla="*/ 538 h 682"/>
                      <a:gd name="T4" fmla="*/ 73 w 565"/>
                      <a:gd name="T5" fmla="*/ 595 h 682"/>
                      <a:gd name="T6" fmla="*/ 123 w 565"/>
                      <a:gd name="T7" fmla="*/ 630 h 682"/>
                      <a:gd name="T8" fmla="*/ 137 w 565"/>
                      <a:gd name="T9" fmla="*/ 670 h 682"/>
                      <a:gd name="T10" fmla="*/ 549 w 565"/>
                      <a:gd name="T11" fmla="*/ 682 h 682"/>
                      <a:gd name="T12" fmla="*/ 565 w 565"/>
                      <a:gd name="T13" fmla="*/ 659 h 682"/>
                      <a:gd name="T14" fmla="*/ 553 w 565"/>
                      <a:gd name="T15" fmla="*/ 292 h 682"/>
                      <a:gd name="T16" fmla="*/ 260 w 565"/>
                      <a:gd name="T17" fmla="*/ 0 h 682"/>
                      <a:gd name="T18" fmla="*/ 0 w 565"/>
                      <a:gd name="T19" fmla="*/ 9 h 6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65" h="682">
                        <a:moveTo>
                          <a:pt x="0" y="9"/>
                        </a:moveTo>
                        <a:lnTo>
                          <a:pt x="7" y="538"/>
                        </a:lnTo>
                        <a:lnTo>
                          <a:pt x="73" y="595"/>
                        </a:lnTo>
                        <a:lnTo>
                          <a:pt x="123" y="630"/>
                        </a:lnTo>
                        <a:lnTo>
                          <a:pt x="137" y="670"/>
                        </a:lnTo>
                        <a:lnTo>
                          <a:pt x="549" y="682"/>
                        </a:lnTo>
                        <a:lnTo>
                          <a:pt x="565" y="659"/>
                        </a:lnTo>
                        <a:lnTo>
                          <a:pt x="553" y="292"/>
                        </a:lnTo>
                        <a:lnTo>
                          <a:pt x="26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tlCol="0" anchor="t" anchorCtr="0"/>
                  <a:lstStyle/>
                  <a:p>
                    <a:pPr algn="ctr" defTabSz="1194923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FFFFFF">
                          <a:alpha val="99000"/>
                        </a:srgbClr>
                      </a:solidFill>
                      <a:latin typeface="Segoe UI 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67" name="Freeform 6"/>
                  <p:cNvSpPr>
                    <a:spLocks noEditPoints="1"/>
                  </p:cNvSpPr>
                  <p:nvPr/>
                </p:nvSpPr>
                <p:spPr bwMode="auto">
                  <a:xfrm>
                    <a:off x="8791575" y="-838200"/>
                    <a:ext cx="973138" cy="1154113"/>
                  </a:xfrm>
                  <a:custGeom>
                    <a:avLst/>
                    <a:gdLst>
                      <a:gd name="T0" fmla="*/ 249 w 259"/>
                      <a:gd name="T1" fmla="*/ 122 h 308"/>
                      <a:gd name="T2" fmla="*/ 225 w 259"/>
                      <a:gd name="T3" fmla="*/ 101 h 308"/>
                      <a:gd name="T4" fmla="*/ 221 w 259"/>
                      <a:gd name="T5" fmla="*/ 95 h 308"/>
                      <a:gd name="T6" fmla="*/ 199 w 259"/>
                      <a:gd name="T7" fmla="*/ 74 h 308"/>
                      <a:gd name="T8" fmla="*/ 193 w 259"/>
                      <a:gd name="T9" fmla="*/ 67 h 308"/>
                      <a:gd name="T10" fmla="*/ 130 w 259"/>
                      <a:gd name="T11" fmla="*/ 7 h 308"/>
                      <a:gd name="T12" fmla="*/ 113 w 259"/>
                      <a:gd name="T13" fmla="*/ 0 h 308"/>
                      <a:gd name="T14" fmla="*/ 21 w 259"/>
                      <a:gd name="T15" fmla="*/ 0 h 308"/>
                      <a:gd name="T16" fmla="*/ 0 w 259"/>
                      <a:gd name="T17" fmla="*/ 18 h 308"/>
                      <a:gd name="T18" fmla="*/ 0 w 259"/>
                      <a:gd name="T19" fmla="*/ 229 h 308"/>
                      <a:gd name="T20" fmla="*/ 21 w 259"/>
                      <a:gd name="T21" fmla="*/ 253 h 308"/>
                      <a:gd name="T22" fmla="*/ 28 w 259"/>
                      <a:gd name="T23" fmla="*/ 253 h 308"/>
                      <a:gd name="T24" fmla="*/ 28 w 259"/>
                      <a:gd name="T25" fmla="*/ 256 h 308"/>
                      <a:gd name="T26" fmla="*/ 49 w 259"/>
                      <a:gd name="T27" fmla="*/ 281 h 308"/>
                      <a:gd name="T28" fmla="*/ 56 w 259"/>
                      <a:gd name="T29" fmla="*/ 281 h 308"/>
                      <a:gd name="T30" fmla="*/ 56 w 259"/>
                      <a:gd name="T31" fmla="*/ 284 h 308"/>
                      <a:gd name="T32" fmla="*/ 77 w 259"/>
                      <a:gd name="T33" fmla="*/ 308 h 308"/>
                      <a:gd name="T34" fmla="*/ 231 w 259"/>
                      <a:gd name="T35" fmla="*/ 308 h 308"/>
                      <a:gd name="T36" fmla="*/ 256 w 259"/>
                      <a:gd name="T37" fmla="*/ 284 h 308"/>
                      <a:gd name="T38" fmla="*/ 256 w 259"/>
                      <a:gd name="T39" fmla="*/ 140 h 308"/>
                      <a:gd name="T40" fmla="*/ 249 w 259"/>
                      <a:gd name="T41" fmla="*/ 122 h 308"/>
                      <a:gd name="T42" fmla="*/ 140 w 259"/>
                      <a:gd name="T43" fmla="*/ 46 h 308"/>
                      <a:gd name="T44" fmla="*/ 151 w 259"/>
                      <a:gd name="T45" fmla="*/ 56 h 308"/>
                      <a:gd name="T46" fmla="*/ 140 w 259"/>
                      <a:gd name="T47" fmla="*/ 56 h 308"/>
                      <a:gd name="T48" fmla="*/ 140 w 259"/>
                      <a:gd name="T49" fmla="*/ 46 h 308"/>
                      <a:gd name="T50" fmla="*/ 123 w 259"/>
                      <a:gd name="T51" fmla="*/ 28 h 308"/>
                      <a:gd name="T52" fmla="*/ 113 w 259"/>
                      <a:gd name="T53" fmla="*/ 28 h 308"/>
                      <a:gd name="T54" fmla="*/ 113 w 259"/>
                      <a:gd name="T55" fmla="*/ 18 h 308"/>
                      <a:gd name="T56" fmla="*/ 123 w 259"/>
                      <a:gd name="T57" fmla="*/ 28 h 308"/>
                      <a:gd name="T58" fmla="*/ 18 w 259"/>
                      <a:gd name="T59" fmla="*/ 232 h 308"/>
                      <a:gd name="T60" fmla="*/ 18 w 259"/>
                      <a:gd name="T61" fmla="*/ 18 h 308"/>
                      <a:gd name="T62" fmla="*/ 92 w 259"/>
                      <a:gd name="T63" fmla="*/ 18 h 308"/>
                      <a:gd name="T64" fmla="*/ 92 w 259"/>
                      <a:gd name="T65" fmla="*/ 28 h 308"/>
                      <a:gd name="T66" fmla="*/ 49 w 259"/>
                      <a:gd name="T67" fmla="*/ 28 h 308"/>
                      <a:gd name="T68" fmla="*/ 28 w 259"/>
                      <a:gd name="T69" fmla="*/ 46 h 308"/>
                      <a:gd name="T70" fmla="*/ 28 w 259"/>
                      <a:gd name="T71" fmla="*/ 232 h 308"/>
                      <a:gd name="T72" fmla="*/ 18 w 259"/>
                      <a:gd name="T73" fmla="*/ 232 h 308"/>
                      <a:gd name="T74" fmla="*/ 46 w 259"/>
                      <a:gd name="T75" fmla="*/ 260 h 308"/>
                      <a:gd name="T76" fmla="*/ 46 w 259"/>
                      <a:gd name="T77" fmla="*/ 46 h 308"/>
                      <a:gd name="T78" fmla="*/ 119 w 259"/>
                      <a:gd name="T79" fmla="*/ 46 h 308"/>
                      <a:gd name="T80" fmla="*/ 119 w 259"/>
                      <a:gd name="T81" fmla="*/ 56 h 308"/>
                      <a:gd name="T82" fmla="*/ 77 w 259"/>
                      <a:gd name="T83" fmla="*/ 56 h 308"/>
                      <a:gd name="T84" fmla="*/ 56 w 259"/>
                      <a:gd name="T85" fmla="*/ 73 h 308"/>
                      <a:gd name="T86" fmla="*/ 56 w 259"/>
                      <a:gd name="T87" fmla="*/ 260 h 308"/>
                      <a:gd name="T88" fmla="*/ 46 w 259"/>
                      <a:gd name="T89" fmla="*/ 260 h 308"/>
                      <a:gd name="T90" fmla="*/ 238 w 259"/>
                      <a:gd name="T91" fmla="*/ 287 h 308"/>
                      <a:gd name="T92" fmla="*/ 74 w 259"/>
                      <a:gd name="T93" fmla="*/ 287 h 308"/>
                      <a:gd name="T94" fmla="*/ 74 w 259"/>
                      <a:gd name="T95" fmla="*/ 73 h 308"/>
                      <a:gd name="T96" fmla="*/ 147 w 259"/>
                      <a:gd name="T97" fmla="*/ 73 h 308"/>
                      <a:gd name="T98" fmla="*/ 147 w 259"/>
                      <a:gd name="T99" fmla="*/ 140 h 308"/>
                      <a:gd name="T100" fmla="*/ 168 w 259"/>
                      <a:gd name="T101" fmla="*/ 165 h 308"/>
                      <a:gd name="T102" fmla="*/ 238 w 259"/>
                      <a:gd name="T103" fmla="*/ 165 h 308"/>
                      <a:gd name="T104" fmla="*/ 238 w 259"/>
                      <a:gd name="T105" fmla="*/ 287 h 308"/>
                      <a:gd name="T106" fmla="*/ 168 w 259"/>
                      <a:gd name="T107" fmla="*/ 140 h 308"/>
                      <a:gd name="T108" fmla="*/ 168 w 259"/>
                      <a:gd name="T109" fmla="*/ 73 h 308"/>
                      <a:gd name="T110" fmla="*/ 238 w 259"/>
                      <a:gd name="T111" fmla="*/ 140 h 308"/>
                      <a:gd name="T112" fmla="*/ 168 w 259"/>
                      <a:gd name="T113" fmla="*/ 140 h 3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259" h="308">
                        <a:moveTo>
                          <a:pt x="249" y="122"/>
                        </a:moveTo>
                        <a:cubicBezTo>
                          <a:pt x="240" y="114"/>
                          <a:pt x="232" y="107"/>
                          <a:pt x="225" y="101"/>
                        </a:cubicBezTo>
                        <a:cubicBezTo>
                          <a:pt x="224" y="99"/>
                          <a:pt x="223" y="97"/>
                          <a:pt x="221" y="95"/>
                        </a:cubicBezTo>
                        <a:cubicBezTo>
                          <a:pt x="212" y="87"/>
                          <a:pt x="205" y="80"/>
                          <a:pt x="199" y="74"/>
                        </a:cubicBezTo>
                        <a:cubicBezTo>
                          <a:pt x="198" y="72"/>
                          <a:pt x="196" y="69"/>
                          <a:pt x="193" y="67"/>
                        </a:cubicBezTo>
                        <a:cubicBezTo>
                          <a:pt x="130" y="7"/>
                          <a:pt x="130" y="7"/>
                          <a:pt x="130" y="7"/>
                        </a:cubicBezTo>
                        <a:cubicBezTo>
                          <a:pt x="123" y="0"/>
                          <a:pt x="120" y="0"/>
                          <a:pt x="113" y="0"/>
                        </a:cubicBezTo>
                        <a:cubicBezTo>
                          <a:pt x="21" y="0"/>
                          <a:pt x="21" y="0"/>
                          <a:pt x="21" y="0"/>
                        </a:cubicBezTo>
                        <a:cubicBezTo>
                          <a:pt x="11" y="0"/>
                          <a:pt x="0" y="7"/>
                          <a:pt x="0" y="18"/>
                        </a:cubicBezTo>
                        <a:cubicBezTo>
                          <a:pt x="0" y="229"/>
                          <a:pt x="0" y="229"/>
                          <a:pt x="0" y="229"/>
                        </a:cubicBezTo>
                        <a:cubicBezTo>
                          <a:pt x="0" y="239"/>
                          <a:pt x="11" y="253"/>
                          <a:pt x="21" y="253"/>
                        </a:cubicBezTo>
                        <a:cubicBezTo>
                          <a:pt x="24" y="253"/>
                          <a:pt x="26" y="253"/>
                          <a:pt x="28" y="253"/>
                        </a:cubicBezTo>
                        <a:cubicBezTo>
                          <a:pt x="28" y="256"/>
                          <a:pt x="28" y="256"/>
                          <a:pt x="28" y="256"/>
                        </a:cubicBezTo>
                        <a:cubicBezTo>
                          <a:pt x="28" y="267"/>
                          <a:pt x="39" y="281"/>
                          <a:pt x="49" y="281"/>
                        </a:cubicBezTo>
                        <a:cubicBezTo>
                          <a:pt x="52" y="281"/>
                          <a:pt x="54" y="281"/>
                          <a:pt x="56" y="281"/>
                        </a:cubicBezTo>
                        <a:cubicBezTo>
                          <a:pt x="56" y="284"/>
                          <a:pt x="56" y="284"/>
                          <a:pt x="56" y="284"/>
                        </a:cubicBezTo>
                        <a:cubicBezTo>
                          <a:pt x="56" y="294"/>
                          <a:pt x="67" y="308"/>
                          <a:pt x="77" y="308"/>
                        </a:cubicBezTo>
                        <a:cubicBezTo>
                          <a:pt x="231" y="308"/>
                          <a:pt x="231" y="308"/>
                          <a:pt x="231" y="308"/>
                        </a:cubicBezTo>
                        <a:cubicBezTo>
                          <a:pt x="245" y="308"/>
                          <a:pt x="256" y="294"/>
                          <a:pt x="256" y="284"/>
                        </a:cubicBezTo>
                        <a:cubicBezTo>
                          <a:pt x="256" y="140"/>
                          <a:pt x="256" y="140"/>
                          <a:pt x="256" y="140"/>
                        </a:cubicBezTo>
                        <a:cubicBezTo>
                          <a:pt x="256" y="140"/>
                          <a:pt x="259" y="133"/>
                          <a:pt x="249" y="122"/>
                        </a:cubicBezTo>
                        <a:close/>
                        <a:moveTo>
                          <a:pt x="140" y="46"/>
                        </a:moveTo>
                        <a:cubicBezTo>
                          <a:pt x="144" y="49"/>
                          <a:pt x="148" y="53"/>
                          <a:pt x="151" y="56"/>
                        </a:cubicBezTo>
                        <a:cubicBezTo>
                          <a:pt x="147" y="56"/>
                          <a:pt x="144" y="56"/>
                          <a:pt x="140" y="56"/>
                        </a:cubicBezTo>
                        <a:cubicBezTo>
                          <a:pt x="140" y="46"/>
                          <a:pt x="140" y="46"/>
                          <a:pt x="140" y="46"/>
                        </a:cubicBezTo>
                        <a:close/>
                        <a:moveTo>
                          <a:pt x="123" y="28"/>
                        </a:moveTo>
                        <a:cubicBezTo>
                          <a:pt x="120" y="28"/>
                          <a:pt x="116" y="28"/>
                          <a:pt x="113" y="28"/>
                        </a:cubicBezTo>
                        <a:cubicBezTo>
                          <a:pt x="113" y="18"/>
                          <a:pt x="113" y="18"/>
                          <a:pt x="113" y="18"/>
                        </a:cubicBezTo>
                        <a:cubicBezTo>
                          <a:pt x="116" y="21"/>
                          <a:pt x="120" y="25"/>
                          <a:pt x="123" y="28"/>
                        </a:cubicBezTo>
                        <a:close/>
                        <a:moveTo>
                          <a:pt x="18" y="232"/>
                        </a:moveTo>
                        <a:cubicBezTo>
                          <a:pt x="18" y="21"/>
                          <a:pt x="18" y="18"/>
                          <a:pt x="18" y="18"/>
                        </a:cubicBezTo>
                        <a:cubicBezTo>
                          <a:pt x="88" y="18"/>
                          <a:pt x="92" y="18"/>
                          <a:pt x="92" y="18"/>
                        </a:cubicBezTo>
                        <a:cubicBezTo>
                          <a:pt x="92" y="21"/>
                          <a:pt x="92" y="25"/>
                          <a:pt x="92" y="28"/>
                        </a:cubicBezTo>
                        <a:cubicBezTo>
                          <a:pt x="49" y="28"/>
                          <a:pt x="49" y="28"/>
                          <a:pt x="49" y="28"/>
                        </a:cubicBezTo>
                        <a:cubicBezTo>
                          <a:pt x="39" y="28"/>
                          <a:pt x="28" y="35"/>
                          <a:pt x="28" y="46"/>
                        </a:cubicBezTo>
                        <a:cubicBezTo>
                          <a:pt x="28" y="154"/>
                          <a:pt x="28" y="206"/>
                          <a:pt x="28" y="232"/>
                        </a:cubicBezTo>
                        <a:cubicBezTo>
                          <a:pt x="19" y="232"/>
                          <a:pt x="18" y="232"/>
                          <a:pt x="18" y="232"/>
                        </a:cubicBezTo>
                        <a:close/>
                        <a:moveTo>
                          <a:pt x="46" y="260"/>
                        </a:moveTo>
                        <a:cubicBezTo>
                          <a:pt x="46" y="49"/>
                          <a:pt x="46" y="46"/>
                          <a:pt x="46" y="46"/>
                        </a:cubicBezTo>
                        <a:cubicBezTo>
                          <a:pt x="116" y="46"/>
                          <a:pt x="119" y="46"/>
                          <a:pt x="119" y="46"/>
                        </a:cubicBezTo>
                        <a:cubicBezTo>
                          <a:pt x="119" y="49"/>
                          <a:pt x="119" y="53"/>
                          <a:pt x="119" y="56"/>
                        </a:cubicBezTo>
                        <a:cubicBezTo>
                          <a:pt x="77" y="56"/>
                          <a:pt x="77" y="56"/>
                          <a:pt x="77" y="56"/>
                        </a:cubicBezTo>
                        <a:cubicBezTo>
                          <a:pt x="67" y="56"/>
                          <a:pt x="56" y="63"/>
                          <a:pt x="56" y="73"/>
                        </a:cubicBezTo>
                        <a:cubicBezTo>
                          <a:pt x="56" y="182"/>
                          <a:pt x="56" y="234"/>
                          <a:pt x="56" y="260"/>
                        </a:cubicBezTo>
                        <a:cubicBezTo>
                          <a:pt x="47" y="260"/>
                          <a:pt x="46" y="260"/>
                          <a:pt x="46" y="260"/>
                        </a:cubicBezTo>
                        <a:close/>
                        <a:moveTo>
                          <a:pt x="238" y="287"/>
                        </a:moveTo>
                        <a:cubicBezTo>
                          <a:pt x="84" y="287"/>
                          <a:pt x="74" y="287"/>
                          <a:pt x="74" y="287"/>
                        </a:cubicBezTo>
                        <a:cubicBezTo>
                          <a:pt x="74" y="77"/>
                          <a:pt x="74" y="73"/>
                          <a:pt x="74" y="73"/>
                        </a:cubicBezTo>
                        <a:cubicBezTo>
                          <a:pt x="144" y="73"/>
                          <a:pt x="147" y="73"/>
                          <a:pt x="147" y="73"/>
                        </a:cubicBezTo>
                        <a:cubicBezTo>
                          <a:pt x="147" y="136"/>
                          <a:pt x="147" y="140"/>
                          <a:pt x="147" y="140"/>
                        </a:cubicBezTo>
                        <a:cubicBezTo>
                          <a:pt x="147" y="151"/>
                          <a:pt x="154" y="165"/>
                          <a:pt x="168" y="165"/>
                        </a:cubicBezTo>
                        <a:cubicBezTo>
                          <a:pt x="231" y="165"/>
                          <a:pt x="238" y="165"/>
                          <a:pt x="238" y="165"/>
                        </a:cubicBezTo>
                        <a:lnTo>
                          <a:pt x="238" y="287"/>
                        </a:lnTo>
                        <a:close/>
                        <a:moveTo>
                          <a:pt x="168" y="140"/>
                        </a:moveTo>
                        <a:cubicBezTo>
                          <a:pt x="168" y="73"/>
                          <a:pt x="168" y="73"/>
                          <a:pt x="168" y="73"/>
                        </a:cubicBezTo>
                        <a:cubicBezTo>
                          <a:pt x="238" y="140"/>
                          <a:pt x="238" y="140"/>
                          <a:pt x="238" y="140"/>
                        </a:cubicBezTo>
                        <a:lnTo>
                          <a:pt x="168" y="14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</p:grpSp>
          </p:grpSp>
          <p:grpSp>
            <p:nvGrpSpPr>
              <p:cNvPr id="8" name="Group 80"/>
              <p:cNvGrpSpPr/>
              <p:nvPr/>
            </p:nvGrpSpPr>
            <p:grpSpPr>
              <a:xfrm>
                <a:off x="6182136" y="4687598"/>
                <a:ext cx="1808824" cy="1910503"/>
                <a:chOff x="6182136" y="4624816"/>
                <a:chExt cx="1808824" cy="1910503"/>
              </a:xfrm>
            </p:grpSpPr>
            <p:grpSp>
              <p:nvGrpSpPr>
                <p:cNvPr id="10" name="Group 6"/>
                <p:cNvGrpSpPr/>
                <p:nvPr/>
              </p:nvGrpSpPr>
              <p:grpSpPr>
                <a:xfrm>
                  <a:off x="6182138" y="5639822"/>
                  <a:ext cx="802243" cy="895497"/>
                  <a:chOff x="6116086" y="4114800"/>
                  <a:chExt cx="1481739" cy="1840240"/>
                </a:xfrm>
              </p:grpSpPr>
              <p:grpSp>
                <p:nvGrpSpPr>
                  <p:cNvPr id="53" name="Group 7"/>
                  <p:cNvGrpSpPr/>
                  <p:nvPr/>
                </p:nvGrpSpPr>
                <p:grpSpPr>
                  <a:xfrm>
                    <a:off x="6116086" y="4114800"/>
                    <a:ext cx="1481739" cy="1840240"/>
                    <a:chOff x="6116086" y="4114800"/>
                    <a:chExt cx="1481739" cy="1840240"/>
                  </a:xfrm>
                </p:grpSpPr>
                <p:sp>
                  <p:nvSpPr>
                    <p:cNvPr id="60" name="TextBox 59"/>
                    <p:cNvSpPr txBox="1"/>
                    <p:nvPr/>
                  </p:nvSpPr>
                  <p:spPr>
                    <a:xfrm>
                      <a:off x="6324008" y="5550254"/>
                      <a:ext cx="1173797" cy="40478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algn="ctr" defTabSz="913505" fontAlgn="base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80000"/>
                      </a:pPr>
                      <a:r>
                        <a:rPr lang="en-US" sz="1568" dirty="0">
                          <a:gradFill>
                            <a:gsLst>
                              <a:gs pos="0">
                                <a:srgbClr val="000000">
                                  <a:lumMod val="95000"/>
                                  <a:lumOff val="5000"/>
                                </a:srgbClr>
                              </a:gs>
                              <a:gs pos="100000">
                                <a:srgbClr val="000000">
                                  <a:lumMod val="95000"/>
                                  <a:lumOff val="5000"/>
                                </a:srgbClr>
                              </a:gs>
                            </a:gsLst>
                            <a:lin ang="5400000" scaled="0"/>
                          </a:gradFill>
                          <a:ea typeface="MS PGothic" charset="0"/>
                        </a:rPr>
                        <a:t>Server</a:t>
                      </a:r>
                    </a:p>
                  </p:txBody>
                </p:sp>
                <p:sp>
                  <p:nvSpPr>
                    <p:cNvPr id="61" name="Round Same Side Corner Rectangle 15"/>
                    <p:cNvSpPr/>
                    <p:nvPr/>
                  </p:nvSpPr>
                  <p:spPr bwMode="auto">
                    <a:xfrm rot="5400000">
                      <a:off x="6223987" y="4114801"/>
                      <a:ext cx="1373839" cy="1373837"/>
                    </a:xfrm>
                    <a:prstGeom prst="round2SameRect">
                      <a:avLst>
                        <a:gd name="adj1" fmla="val 5548"/>
                        <a:gd name="adj2" fmla="val 0"/>
                      </a:avLst>
                    </a:prstGeom>
                    <a:solidFill>
                      <a:schemeClr val="accent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  <p:sp>
                  <p:nvSpPr>
                    <p:cNvPr id="62" name="Round Same Side Corner Rectangle 16"/>
                    <p:cNvSpPr/>
                    <p:nvPr/>
                  </p:nvSpPr>
                  <p:spPr bwMode="auto">
                    <a:xfrm rot="16200000">
                      <a:off x="6061862" y="4239941"/>
                      <a:ext cx="243627" cy="135179"/>
                    </a:xfrm>
                    <a:prstGeom prst="round2SameRect">
                      <a:avLst/>
                    </a:prstGeom>
                    <a:noFill/>
                    <a:ln w="38100">
                      <a:solidFill>
                        <a:schemeClr val="accent2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  <p:sp>
                  <p:nvSpPr>
                    <p:cNvPr id="63" name="Round Same Side Corner Rectangle 17"/>
                    <p:cNvSpPr/>
                    <p:nvPr/>
                  </p:nvSpPr>
                  <p:spPr bwMode="auto">
                    <a:xfrm rot="16200000">
                      <a:off x="6061863" y="5200920"/>
                      <a:ext cx="243627" cy="135179"/>
                    </a:xfrm>
                    <a:prstGeom prst="round2SameRect">
                      <a:avLst/>
                    </a:prstGeom>
                    <a:noFill/>
                    <a:ln w="38100">
                      <a:solidFill>
                        <a:schemeClr val="accent2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</p:grpSp>
              <p:sp>
                <p:nvSpPr>
                  <p:cNvPr id="54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408488" y="4205136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55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408488" y="4631383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56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777703" y="4631383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57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408488" y="5057631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58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777703" y="5057631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59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7146918" y="5057631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</p:grpSp>
            <p:grpSp>
              <p:nvGrpSpPr>
                <p:cNvPr id="11" name="Group 18"/>
                <p:cNvGrpSpPr/>
                <p:nvPr/>
              </p:nvGrpSpPr>
              <p:grpSpPr>
                <a:xfrm>
                  <a:off x="7188717" y="4624816"/>
                  <a:ext cx="802243" cy="895497"/>
                  <a:chOff x="7975231" y="2028969"/>
                  <a:chExt cx="1481739" cy="1840240"/>
                </a:xfrm>
              </p:grpSpPr>
              <p:grpSp>
                <p:nvGrpSpPr>
                  <p:cNvPr id="42" name="Group 19"/>
                  <p:cNvGrpSpPr/>
                  <p:nvPr/>
                </p:nvGrpSpPr>
                <p:grpSpPr>
                  <a:xfrm>
                    <a:off x="7975231" y="2028969"/>
                    <a:ext cx="1481739" cy="1840240"/>
                    <a:chOff x="7975231" y="2028969"/>
                    <a:chExt cx="1481739" cy="1840240"/>
                  </a:xfrm>
                </p:grpSpPr>
                <p:sp>
                  <p:nvSpPr>
                    <p:cNvPr id="49" name="TextBox 48"/>
                    <p:cNvSpPr txBox="1"/>
                    <p:nvPr/>
                  </p:nvSpPr>
                  <p:spPr>
                    <a:xfrm>
                      <a:off x="8209665" y="3464423"/>
                      <a:ext cx="1120775" cy="40478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>
                      <a:spAutoFit/>
                    </a:bodyPr>
                    <a:lstStyle/>
                    <a:p>
                      <a:pPr algn="ctr" defTabSz="913505" fontAlgn="base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80000"/>
                      </a:pPr>
                      <a:r>
                        <a:rPr lang="en-US" sz="1568" dirty="0">
                          <a:gradFill>
                            <a:gsLst>
                              <a:gs pos="0">
                                <a:srgbClr val="000000">
                                  <a:lumMod val="95000"/>
                                  <a:lumOff val="5000"/>
                                </a:srgbClr>
                              </a:gs>
                              <a:gs pos="100000">
                                <a:srgbClr val="000000">
                                  <a:lumMod val="95000"/>
                                  <a:lumOff val="5000"/>
                                </a:srgbClr>
                              </a:gs>
                            </a:gsLst>
                            <a:lin ang="5400000" scaled="0"/>
                          </a:gradFill>
                          <a:ea typeface="MS PGothic" charset="0"/>
                        </a:rPr>
                        <a:t>Server</a:t>
                      </a:r>
                    </a:p>
                  </p:txBody>
                </p:sp>
                <p:sp>
                  <p:nvSpPr>
                    <p:cNvPr id="50" name="Round Same Side Corner Rectangle 27"/>
                    <p:cNvSpPr/>
                    <p:nvPr/>
                  </p:nvSpPr>
                  <p:spPr bwMode="auto">
                    <a:xfrm rot="5400000">
                      <a:off x="8083132" y="2028970"/>
                      <a:ext cx="1373839" cy="1373837"/>
                    </a:xfrm>
                    <a:prstGeom prst="round2SameRect">
                      <a:avLst>
                        <a:gd name="adj1" fmla="val 5548"/>
                        <a:gd name="adj2" fmla="val 0"/>
                      </a:avLst>
                    </a:prstGeom>
                    <a:solidFill>
                      <a:schemeClr val="accent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  <p:sp>
                  <p:nvSpPr>
                    <p:cNvPr id="51" name="Round Same Side Corner Rectangle 28"/>
                    <p:cNvSpPr/>
                    <p:nvPr/>
                  </p:nvSpPr>
                  <p:spPr bwMode="auto">
                    <a:xfrm rot="16200000">
                      <a:off x="7921007" y="2154110"/>
                      <a:ext cx="243627" cy="135179"/>
                    </a:xfrm>
                    <a:prstGeom prst="round2SameRect">
                      <a:avLst/>
                    </a:prstGeom>
                    <a:noFill/>
                    <a:ln w="38100">
                      <a:solidFill>
                        <a:schemeClr val="accent2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  <p:sp>
                  <p:nvSpPr>
                    <p:cNvPr id="52" name="Round Same Side Corner Rectangle 29"/>
                    <p:cNvSpPr/>
                    <p:nvPr/>
                  </p:nvSpPr>
                  <p:spPr bwMode="auto">
                    <a:xfrm rot="16200000">
                      <a:off x="7921008" y="3115089"/>
                      <a:ext cx="243627" cy="135179"/>
                    </a:xfrm>
                    <a:prstGeom prst="round2SameRect">
                      <a:avLst/>
                    </a:prstGeom>
                    <a:noFill/>
                    <a:ln w="38100">
                      <a:solidFill>
                        <a:schemeClr val="accent2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</p:grpSp>
              <p:sp>
                <p:nvSpPr>
                  <p:cNvPr id="43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8267633" y="2119305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44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8267633" y="2545552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45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8636848" y="2545552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46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8267633" y="2971800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47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8636848" y="2971800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48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9006063" y="2971800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</p:grpSp>
            <p:grpSp>
              <p:nvGrpSpPr>
                <p:cNvPr id="12" name="Group 30"/>
                <p:cNvGrpSpPr/>
                <p:nvPr/>
              </p:nvGrpSpPr>
              <p:grpSpPr>
                <a:xfrm>
                  <a:off x="6182136" y="4624816"/>
                  <a:ext cx="802241" cy="895497"/>
                  <a:chOff x="6116086" y="2028969"/>
                  <a:chExt cx="1481736" cy="1840240"/>
                </a:xfrm>
              </p:grpSpPr>
              <p:sp>
                <p:nvSpPr>
                  <p:cNvPr id="31" name="TextBox 30"/>
                  <p:cNvSpPr txBox="1"/>
                  <p:nvPr/>
                </p:nvSpPr>
                <p:spPr>
                  <a:xfrm>
                    <a:off x="6324006" y="3464423"/>
                    <a:ext cx="1173795" cy="40478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3505" fontAlgn="base">
                      <a:lnSpc>
                        <a:spcPct val="80000"/>
                      </a:lnSpc>
                      <a:spcBef>
                        <a:spcPct val="20000"/>
                      </a:spcBef>
                      <a:spcAft>
                        <a:spcPct val="0"/>
                      </a:spcAft>
                      <a:buSzPct val="80000"/>
                    </a:pPr>
                    <a:r>
                      <a:rPr lang="en-US" sz="1568" dirty="0">
                        <a:gradFill>
                          <a:gsLst>
                            <a:gs pos="0">
                              <a:srgbClr val="000000">
                                <a:lumMod val="95000"/>
                                <a:lumOff val="5000"/>
                              </a:srgbClr>
                            </a:gs>
                            <a:gs pos="100000">
                              <a:srgbClr val="000000">
                                <a:lumMod val="95000"/>
                                <a:lumOff val="5000"/>
                              </a:srgbClr>
                            </a:gs>
                          </a:gsLst>
                          <a:lin ang="5400000" scaled="0"/>
                        </a:gradFill>
                        <a:ea typeface="MS PGothic" charset="0"/>
                      </a:rPr>
                      <a:t>Server</a:t>
                    </a:r>
                  </a:p>
                </p:txBody>
              </p:sp>
              <p:grpSp>
                <p:nvGrpSpPr>
                  <p:cNvPr id="32" name="Group 32"/>
                  <p:cNvGrpSpPr/>
                  <p:nvPr/>
                </p:nvGrpSpPr>
                <p:grpSpPr>
                  <a:xfrm>
                    <a:off x="6116086" y="2028969"/>
                    <a:ext cx="1481736" cy="1373838"/>
                    <a:chOff x="6116086" y="2028969"/>
                    <a:chExt cx="1481736" cy="1373838"/>
                  </a:xfrm>
                </p:grpSpPr>
                <p:sp>
                  <p:nvSpPr>
                    <p:cNvPr id="39" name="Round Same Side Corner Rectangle 39"/>
                    <p:cNvSpPr/>
                    <p:nvPr/>
                  </p:nvSpPr>
                  <p:spPr bwMode="auto">
                    <a:xfrm rot="5400000">
                      <a:off x="6223985" y="2028969"/>
                      <a:ext cx="1373838" cy="1373837"/>
                    </a:xfrm>
                    <a:prstGeom prst="round2SameRect">
                      <a:avLst>
                        <a:gd name="adj1" fmla="val 5548"/>
                        <a:gd name="adj2" fmla="val 0"/>
                      </a:avLst>
                    </a:prstGeom>
                    <a:solidFill>
                      <a:schemeClr val="accent2"/>
                    </a:solidFill>
                    <a:ln>
                      <a:noFill/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  <p:sp>
                  <p:nvSpPr>
                    <p:cNvPr id="40" name="Round Same Side Corner Rectangle 40"/>
                    <p:cNvSpPr/>
                    <p:nvPr/>
                  </p:nvSpPr>
                  <p:spPr bwMode="auto">
                    <a:xfrm rot="16200000">
                      <a:off x="6061862" y="2154110"/>
                      <a:ext cx="243627" cy="135179"/>
                    </a:xfrm>
                    <a:prstGeom prst="round2SameRect">
                      <a:avLst/>
                    </a:prstGeom>
                    <a:noFill/>
                    <a:ln w="38100">
                      <a:solidFill>
                        <a:schemeClr val="accent2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  <p:sp>
                  <p:nvSpPr>
                    <p:cNvPr id="41" name="Round Same Side Corner Rectangle 41"/>
                    <p:cNvSpPr/>
                    <p:nvPr/>
                  </p:nvSpPr>
                  <p:spPr bwMode="auto">
                    <a:xfrm rot="16200000">
                      <a:off x="6061863" y="3115089"/>
                      <a:ext cx="243627" cy="135179"/>
                    </a:xfrm>
                    <a:prstGeom prst="round2SameRect">
                      <a:avLst/>
                    </a:prstGeom>
                    <a:noFill/>
                    <a:ln w="38100">
                      <a:solidFill>
                        <a:schemeClr val="accent2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vert="horz" wrap="square" lIns="89639" tIns="44819" rIns="89639" bIns="44819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896091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568" dirty="0">
                        <a:gradFill>
                          <a:gsLst>
                            <a:gs pos="0">
                              <a:srgbClr val="FFFFFF"/>
                            </a:gs>
                            <a:gs pos="100000">
                              <a:srgbClr val="FFFFFF"/>
                            </a:gs>
                          </a:gsLst>
                          <a:lin ang="5400000" scaled="0"/>
                        </a:gradFill>
                      </a:endParaRPr>
                    </a:p>
                  </p:txBody>
                </p:sp>
              </p:grpSp>
              <p:sp>
                <p:nvSpPr>
                  <p:cNvPr id="33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408488" y="2119305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34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408488" y="2545552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35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777703" y="2545552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36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408488" y="2971800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37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6777703" y="2971800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  <p:sp>
                <p:nvSpPr>
                  <p:cNvPr id="38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7146918" y="2971800"/>
                    <a:ext cx="280437" cy="350764"/>
                  </a:xfrm>
                  <a:custGeom>
                    <a:avLst/>
                    <a:gdLst>
                      <a:gd name="T0" fmla="*/ 525 w 547"/>
                      <a:gd name="T1" fmla="*/ 188 h 684"/>
                      <a:gd name="T2" fmla="*/ 350 w 547"/>
                      <a:gd name="T3" fmla="*/ 22 h 684"/>
                      <a:gd name="T4" fmla="*/ 306 w 547"/>
                      <a:gd name="T5" fmla="*/ 0 h 684"/>
                      <a:gd name="T6" fmla="*/ 66 w 547"/>
                      <a:gd name="T7" fmla="*/ 0 h 684"/>
                      <a:gd name="T8" fmla="*/ 0 w 547"/>
                      <a:gd name="T9" fmla="*/ 55 h 684"/>
                      <a:gd name="T10" fmla="*/ 0 w 547"/>
                      <a:gd name="T11" fmla="*/ 618 h 684"/>
                      <a:gd name="T12" fmla="*/ 66 w 547"/>
                      <a:gd name="T13" fmla="*/ 684 h 684"/>
                      <a:gd name="T14" fmla="*/ 481 w 547"/>
                      <a:gd name="T15" fmla="*/ 684 h 684"/>
                      <a:gd name="T16" fmla="*/ 547 w 547"/>
                      <a:gd name="T17" fmla="*/ 618 h 684"/>
                      <a:gd name="T18" fmla="*/ 547 w 547"/>
                      <a:gd name="T19" fmla="*/ 232 h 684"/>
                      <a:gd name="T20" fmla="*/ 525 w 547"/>
                      <a:gd name="T21" fmla="*/ 188 h 684"/>
                      <a:gd name="T22" fmla="*/ 481 w 547"/>
                      <a:gd name="T23" fmla="*/ 618 h 684"/>
                      <a:gd name="T24" fmla="*/ 66 w 547"/>
                      <a:gd name="T25" fmla="*/ 618 h 684"/>
                      <a:gd name="T26" fmla="*/ 66 w 547"/>
                      <a:gd name="T27" fmla="*/ 55 h 684"/>
                      <a:gd name="T28" fmla="*/ 252 w 547"/>
                      <a:gd name="T29" fmla="*/ 55 h 684"/>
                      <a:gd name="T30" fmla="*/ 252 w 547"/>
                      <a:gd name="T31" fmla="*/ 232 h 684"/>
                      <a:gd name="T32" fmla="*/ 306 w 547"/>
                      <a:gd name="T33" fmla="*/ 298 h 684"/>
                      <a:gd name="T34" fmla="*/ 481 w 547"/>
                      <a:gd name="T35" fmla="*/ 298 h 684"/>
                      <a:gd name="T36" fmla="*/ 481 w 547"/>
                      <a:gd name="T37" fmla="*/ 618 h 684"/>
                      <a:gd name="T38" fmla="*/ 306 w 547"/>
                      <a:gd name="T39" fmla="*/ 232 h 684"/>
                      <a:gd name="T40" fmla="*/ 306 w 547"/>
                      <a:gd name="T41" fmla="*/ 55 h 684"/>
                      <a:gd name="T42" fmla="*/ 481 w 547"/>
                      <a:gd name="T43" fmla="*/ 232 h 684"/>
                      <a:gd name="T44" fmla="*/ 306 w 547"/>
                      <a:gd name="T45" fmla="*/ 232 h 6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7" h="684">
                        <a:moveTo>
                          <a:pt x="525" y="188"/>
                        </a:moveTo>
                        <a:cubicBezTo>
                          <a:pt x="350" y="22"/>
                          <a:pt x="350" y="22"/>
                          <a:pt x="350" y="22"/>
                        </a:cubicBezTo>
                        <a:cubicBezTo>
                          <a:pt x="330" y="2"/>
                          <a:pt x="328" y="0"/>
                          <a:pt x="306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33" y="0"/>
                          <a:pt x="0" y="22"/>
                          <a:pt x="0" y="55"/>
                        </a:cubicBezTo>
                        <a:cubicBezTo>
                          <a:pt x="0" y="618"/>
                          <a:pt x="0" y="618"/>
                          <a:pt x="0" y="618"/>
                        </a:cubicBezTo>
                        <a:cubicBezTo>
                          <a:pt x="0" y="651"/>
                          <a:pt x="33" y="684"/>
                          <a:pt x="66" y="684"/>
                        </a:cubicBezTo>
                        <a:cubicBezTo>
                          <a:pt x="481" y="684"/>
                          <a:pt x="481" y="684"/>
                          <a:pt x="481" y="684"/>
                        </a:cubicBezTo>
                        <a:cubicBezTo>
                          <a:pt x="514" y="684"/>
                          <a:pt x="547" y="651"/>
                          <a:pt x="547" y="618"/>
                        </a:cubicBezTo>
                        <a:cubicBezTo>
                          <a:pt x="547" y="232"/>
                          <a:pt x="547" y="232"/>
                          <a:pt x="547" y="232"/>
                        </a:cubicBezTo>
                        <a:cubicBezTo>
                          <a:pt x="547" y="207"/>
                          <a:pt x="525" y="188"/>
                          <a:pt x="525" y="188"/>
                        </a:cubicBezTo>
                        <a:close/>
                        <a:moveTo>
                          <a:pt x="481" y="618"/>
                        </a:moveTo>
                        <a:cubicBezTo>
                          <a:pt x="66" y="618"/>
                          <a:pt x="66" y="618"/>
                          <a:pt x="66" y="618"/>
                        </a:cubicBezTo>
                        <a:cubicBezTo>
                          <a:pt x="66" y="55"/>
                          <a:pt x="66" y="55"/>
                          <a:pt x="66" y="55"/>
                        </a:cubicBezTo>
                        <a:cubicBezTo>
                          <a:pt x="252" y="55"/>
                          <a:pt x="252" y="55"/>
                          <a:pt x="252" y="55"/>
                        </a:cubicBezTo>
                        <a:cubicBezTo>
                          <a:pt x="252" y="232"/>
                          <a:pt x="252" y="232"/>
                          <a:pt x="252" y="232"/>
                        </a:cubicBezTo>
                        <a:cubicBezTo>
                          <a:pt x="252" y="265"/>
                          <a:pt x="273" y="298"/>
                          <a:pt x="306" y="298"/>
                        </a:cubicBezTo>
                        <a:cubicBezTo>
                          <a:pt x="481" y="298"/>
                          <a:pt x="481" y="298"/>
                          <a:pt x="481" y="298"/>
                        </a:cubicBezTo>
                        <a:lnTo>
                          <a:pt x="481" y="618"/>
                        </a:lnTo>
                        <a:close/>
                        <a:moveTo>
                          <a:pt x="306" y="232"/>
                        </a:moveTo>
                        <a:cubicBezTo>
                          <a:pt x="306" y="55"/>
                          <a:pt x="306" y="55"/>
                          <a:pt x="306" y="55"/>
                        </a:cubicBezTo>
                        <a:cubicBezTo>
                          <a:pt x="481" y="232"/>
                          <a:pt x="481" y="232"/>
                          <a:pt x="481" y="232"/>
                        </a:cubicBezTo>
                        <a:cubicBezTo>
                          <a:pt x="306" y="232"/>
                          <a:pt x="306" y="232"/>
                          <a:pt x="306" y="2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3505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>
                      <a:solidFill>
                        <a:srgbClr val="000000"/>
                      </a:solidFill>
                      <a:ea typeface="MS PGothic" charset="0"/>
                    </a:endParaRPr>
                  </a:p>
                </p:txBody>
              </p:sp>
            </p:grpSp>
            <p:sp>
              <p:nvSpPr>
                <p:cNvPr id="13" name="Freeform 27"/>
                <p:cNvSpPr>
                  <a:spLocks noEditPoints="1"/>
                </p:cNvSpPr>
                <p:nvPr/>
              </p:nvSpPr>
              <p:spPr bwMode="auto">
                <a:xfrm>
                  <a:off x="6540351" y="4668775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14" name="Freeform 27"/>
                <p:cNvSpPr>
                  <a:spLocks noEditPoints="1"/>
                </p:cNvSpPr>
                <p:nvPr/>
              </p:nvSpPr>
              <p:spPr bwMode="auto">
                <a:xfrm>
                  <a:off x="6740252" y="4876195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15" name="Freeform 27"/>
                <p:cNvSpPr>
                  <a:spLocks noEditPoints="1"/>
                </p:cNvSpPr>
                <p:nvPr/>
              </p:nvSpPr>
              <p:spPr bwMode="auto">
                <a:xfrm>
                  <a:off x="7546930" y="4668775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16" name="Freeform 27"/>
                <p:cNvSpPr>
                  <a:spLocks noEditPoints="1"/>
                </p:cNvSpPr>
                <p:nvPr/>
              </p:nvSpPr>
              <p:spPr bwMode="auto">
                <a:xfrm>
                  <a:off x="7746830" y="4668775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17" name="Freeform 27"/>
                <p:cNvSpPr>
                  <a:spLocks noEditPoints="1"/>
                </p:cNvSpPr>
                <p:nvPr/>
              </p:nvSpPr>
              <p:spPr bwMode="auto">
                <a:xfrm>
                  <a:off x="7746830" y="4876195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18" name="Freeform 27"/>
                <p:cNvSpPr>
                  <a:spLocks noEditPoints="1"/>
                </p:cNvSpPr>
                <p:nvPr/>
              </p:nvSpPr>
              <p:spPr bwMode="auto">
                <a:xfrm>
                  <a:off x="6540351" y="5683781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19" name="Freeform 27"/>
                <p:cNvSpPr>
                  <a:spLocks noEditPoints="1"/>
                </p:cNvSpPr>
                <p:nvPr/>
              </p:nvSpPr>
              <p:spPr bwMode="auto">
                <a:xfrm>
                  <a:off x="6740252" y="5891201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grpSp>
              <p:nvGrpSpPr>
                <p:cNvPr id="20" name="Group 55"/>
                <p:cNvGrpSpPr/>
                <p:nvPr/>
              </p:nvGrpSpPr>
              <p:grpSpPr>
                <a:xfrm>
                  <a:off x="7188717" y="5639822"/>
                  <a:ext cx="802243" cy="895497"/>
                  <a:chOff x="7975231" y="4114800"/>
                  <a:chExt cx="1481739" cy="1840240"/>
                </a:xfrm>
              </p:grpSpPr>
              <p:sp>
                <p:nvSpPr>
                  <p:cNvPr id="27" name="TextBox 26"/>
                  <p:cNvSpPr txBox="1"/>
                  <p:nvPr/>
                </p:nvSpPr>
                <p:spPr>
                  <a:xfrm>
                    <a:off x="8196793" y="5550254"/>
                    <a:ext cx="1146518" cy="40478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 defTabSz="913505" fontAlgn="base">
                      <a:lnSpc>
                        <a:spcPct val="80000"/>
                      </a:lnSpc>
                      <a:spcBef>
                        <a:spcPct val="20000"/>
                      </a:spcBef>
                      <a:spcAft>
                        <a:spcPct val="0"/>
                      </a:spcAft>
                      <a:buSzPct val="80000"/>
                    </a:pPr>
                    <a:r>
                      <a:rPr lang="en-US" sz="1568" dirty="0">
                        <a:gradFill>
                          <a:gsLst>
                            <a:gs pos="0">
                              <a:srgbClr val="000000">
                                <a:lumMod val="95000"/>
                                <a:lumOff val="5000"/>
                              </a:srgbClr>
                            </a:gs>
                            <a:gs pos="100000">
                              <a:srgbClr val="000000">
                                <a:lumMod val="95000"/>
                                <a:lumOff val="5000"/>
                              </a:srgbClr>
                            </a:gs>
                          </a:gsLst>
                          <a:lin ang="5400000" scaled="0"/>
                        </a:gradFill>
                        <a:ea typeface="MS PGothic" charset="0"/>
                      </a:rPr>
                      <a:t>Server</a:t>
                    </a:r>
                  </a:p>
                </p:txBody>
              </p:sp>
              <p:sp>
                <p:nvSpPr>
                  <p:cNvPr id="28" name="Round Same Side Corner Rectangle 57"/>
                  <p:cNvSpPr/>
                  <p:nvPr/>
                </p:nvSpPr>
                <p:spPr bwMode="auto">
                  <a:xfrm rot="5400000">
                    <a:off x="8083132" y="4114801"/>
                    <a:ext cx="1373839" cy="1373837"/>
                  </a:xfrm>
                  <a:prstGeom prst="round2SameRect">
                    <a:avLst>
                      <a:gd name="adj1" fmla="val 5548"/>
                      <a:gd name="adj2" fmla="val 0"/>
                    </a:avLst>
                  </a:prstGeom>
                  <a:solidFill>
                    <a:schemeClr val="accent2"/>
                  </a:solidFill>
                  <a:ln>
                    <a:noFill/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vert="horz" wrap="square" lIns="89639" tIns="44819" rIns="89639" bIns="44819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endParaRPr>
                  </a:p>
                </p:txBody>
              </p:sp>
              <p:sp>
                <p:nvSpPr>
                  <p:cNvPr id="29" name="Round Same Side Corner Rectangle 58"/>
                  <p:cNvSpPr/>
                  <p:nvPr/>
                </p:nvSpPr>
                <p:spPr bwMode="auto">
                  <a:xfrm rot="16200000">
                    <a:off x="7921007" y="4239941"/>
                    <a:ext cx="243627" cy="135179"/>
                  </a:xfrm>
                  <a:prstGeom prst="round2SameRect">
                    <a:avLst/>
                  </a:prstGeom>
                  <a:noFill/>
                  <a:ln w="38100">
                    <a:solidFill>
                      <a:schemeClr val="accent2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vert="horz" wrap="square" lIns="89639" tIns="44819" rIns="89639" bIns="44819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endParaRPr>
                  </a:p>
                </p:txBody>
              </p:sp>
              <p:sp>
                <p:nvSpPr>
                  <p:cNvPr id="30" name="Round Same Side Corner Rectangle 59"/>
                  <p:cNvSpPr/>
                  <p:nvPr/>
                </p:nvSpPr>
                <p:spPr bwMode="auto">
                  <a:xfrm rot="16200000">
                    <a:off x="7921008" y="5200920"/>
                    <a:ext cx="243627" cy="135179"/>
                  </a:xfrm>
                  <a:prstGeom prst="round2SameRect">
                    <a:avLst/>
                  </a:prstGeom>
                  <a:noFill/>
                  <a:ln w="38100">
                    <a:solidFill>
                      <a:schemeClr val="accent2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vert="horz" wrap="square" lIns="89639" tIns="44819" rIns="89639" bIns="44819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89609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568" dirty="0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endParaRPr>
                  </a:p>
                </p:txBody>
              </p:sp>
            </p:grpSp>
            <p:sp>
              <p:nvSpPr>
                <p:cNvPr id="21" name="Freeform 27"/>
                <p:cNvSpPr>
                  <a:spLocks noEditPoints="1"/>
                </p:cNvSpPr>
                <p:nvPr/>
              </p:nvSpPr>
              <p:spPr bwMode="auto">
                <a:xfrm>
                  <a:off x="7347029" y="5683781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22" name="Freeform 27"/>
                <p:cNvSpPr>
                  <a:spLocks noEditPoints="1"/>
                </p:cNvSpPr>
                <p:nvPr/>
              </p:nvSpPr>
              <p:spPr bwMode="auto">
                <a:xfrm>
                  <a:off x="7347029" y="5891201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23" name="Freeform 27"/>
                <p:cNvSpPr>
                  <a:spLocks noEditPoints="1"/>
                </p:cNvSpPr>
                <p:nvPr/>
              </p:nvSpPr>
              <p:spPr bwMode="auto">
                <a:xfrm>
                  <a:off x="7546930" y="5891201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24" name="Freeform 27"/>
                <p:cNvSpPr>
                  <a:spLocks noEditPoints="1"/>
                </p:cNvSpPr>
                <p:nvPr/>
              </p:nvSpPr>
              <p:spPr bwMode="auto">
                <a:xfrm>
                  <a:off x="7347029" y="6098622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25" name="Freeform 27"/>
                <p:cNvSpPr>
                  <a:spLocks noEditPoints="1"/>
                </p:cNvSpPr>
                <p:nvPr/>
              </p:nvSpPr>
              <p:spPr bwMode="auto">
                <a:xfrm>
                  <a:off x="7546930" y="6098622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  <p:sp>
              <p:nvSpPr>
                <p:cNvPr id="26" name="Freeform 27"/>
                <p:cNvSpPr>
                  <a:spLocks noEditPoints="1"/>
                </p:cNvSpPr>
                <p:nvPr/>
              </p:nvSpPr>
              <p:spPr bwMode="auto">
                <a:xfrm>
                  <a:off x="7746830" y="6098622"/>
                  <a:ext cx="151834" cy="170689"/>
                </a:xfrm>
                <a:custGeom>
                  <a:avLst/>
                  <a:gdLst>
                    <a:gd name="T0" fmla="*/ 525 w 547"/>
                    <a:gd name="T1" fmla="*/ 188 h 684"/>
                    <a:gd name="T2" fmla="*/ 350 w 547"/>
                    <a:gd name="T3" fmla="*/ 22 h 684"/>
                    <a:gd name="T4" fmla="*/ 306 w 547"/>
                    <a:gd name="T5" fmla="*/ 0 h 684"/>
                    <a:gd name="T6" fmla="*/ 66 w 547"/>
                    <a:gd name="T7" fmla="*/ 0 h 684"/>
                    <a:gd name="T8" fmla="*/ 0 w 547"/>
                    <a:gd name="T9" fmla="*/ 55 h 684"/>
                    <a:gd name="T10" fmla="*/ 0 w 547"/>
                    <a:gd name="T11" fmla="*/ 618 h 684"/>
                    <a:gd name="T12" fmla="*/ 66 w 547"/>
                    <a:gd name="T13" fmla="*/ 684 h 684"/>
                    <a:gd name="T14" fmla="*/ 481 w 547"/>
                    <a:gd name="T15" fmla="*/ 684 h 684"/>
                    <a:gd name="T16" fmla="*/ 547 w 547"/>
                    <a:gd name="T17" fmla="*/ 618 h 684"/>
                    <a:gd name="T18" fmla="*/ 547 w 547"/>
                    <a:gd name="T19" fmla="*/ 232 h 684"/>
                    <a:gd name="T20" fmla="*/ 525 w 547"/>
                    <a:gd name="T21" fmla="*/ 188 h 684"/>
                    <a:gd name="T22" fmla="*/ 481 w 547"/>
                    <a:gd name="T23" fmla="*/ 618 h 684"/>
                    <a:gd name="T24" fmla="*/ 66 w 547"/>
                    <a:gd name="T25" fmla="*/ 618 h 684"/>
                    <a:gd name="T26" fmla="*/ 66 w 547"/>
                    <a:gd name="T27" fmla="*/ 55 h 684"/>
                    <a:gd name="T28" fmla="*/ 252 w 547"/>
                    <a:gd name="T29" fmla="*/ 55 h 684"/>
                    <a:gd name="T30" fmla="*/ 252 w 547"/>
                    <a:gd name="T31" fmla="*/ 232 h 684"/>
                    <a:gd name="T32" fmla="*/ 306 w 547"/>
                    <a:gd name="T33" fmla="*/ 298 h 684"/>
                    <a:gd name="T34" fmla="*/ 481 w 547"/>
                    <a:gd name="T35" fmla="*/ 298 h 684"/>
                    <a:gd name="T36" fmla="*/ 481 w 547"/>
                    <a:gd name="T37" fmla="*/ 618 h 684"/>
                    <a:gd name="T38" fmla="*/ 306 w 547"/>
                    <a:gd name="T39" fmla="*/ 232 h 684"/>
                    <a:gd name="T40" fmla="*/ 306 w 547"/>
                    <a:gd name="T41" fmla="*/ 55 h 684"/>
                    <a:gd name="T42" fmla="*/ 481 w 547"/>
                    <a:gd name="T43" fmla="*/ 232 h 684"/>
                    <a:gd name="T44" fmla="*/ 306 w 547"/>
                    <a:gd name="T45" fmla="*/ 232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47" h="684">
                      <a:moveTo>
                        <a:pt x="525" y="188"/>
                      </a:moveTo>
                      <a:cubicBezTo>
                        <a:pt x="350" y="22"/>
                        <a:pt x="350" y="22"/>
                        <a:pt x="350" y="22"/>
                      </a:cubicBezTo>
                      <a:cubicBezTo>
                        <a:pt x="330" y="2"/>
                        <a:pt x="328" y="0"/>
                        <a:pt x="30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3" y="0"/>
                        <a:pt x="0" y="22"/>
                        <a:pt x="0" y="55"/>
                      </a:cubicBezTo>
                      <a:cubicBezTo>
                        <a:pt x="0" y="618"/>
                        <a:pt x="0" y="618"/>
                        <a:pt x="0" y="618"/>
                      </a:cubicBezTo>
                      <a:cubicBezTo>
                        <a:pt x="0" y="651"/>
                        <a:pt x="33" y="684"/>
                        <a:pt x="66" y="684"/>
                      </a:cubicBezTo>
                      <a:cubicBezTo>
                        <a:pt x="481" y="684"/>
                        <a:pt x="481" y="684"/>
                        <a:pt x="481" y="684"/>
                      </a:cubicBezTo>
                      <a:cubicBezTo>
                        <a:pt x="514" y="684"/>
                        <a:pt x="547" y="651"/>
                        <a:pt x="547" y="618"/>
                      </a:cubicBezTo>
                      <a:cubicBezTo>
                        <a:pt x="547" y="232"/>
                        <a:pt x="547" y="232"/>
                        <a:pt x="547" y="232"/>
                      </a:cubicBezTo>
                      <a:cubicBezTo>
                        <a:pt x="547" y="207"/>
                        <a:pt x="525" y="188"/>
                        <a:pt x="525" y="188"/>
                      </a:cubicBezTo>
                      <a:close/>
                      <a:moveTo>
                        <a:pt x="481" y="618"/>
                      </a:moveTo>
                      <a:cubicBezTo>
                        <a:pt x="66" y="618"/>
                        <a:pt x="66" y="618"/>
                        <a:pt x="66" y="618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252" y="55"/>
                        <a:pt x="252" y="55"/>
                        <a:pt x="252" y="55"/>
                      </a:cubicBezTo>
                      <a:cubicBezTo>
                        <a:pt x="252" y="232"/>
                        <a:pt x="252" y="232"/>
                        <a:pt x="252" y="232"/>
                      </a:cubicBezTo>
                      <a:cubicBezTo>
                        <a:pt x="252" y="265"/>
                        <a:pt x="273" y="298"/>
                        <a:pt x="306" y="298"/>
                      </a:cubicBezTo>
                      <a:cubicBezTo>
                        <a:pt x="481" y="298"/>
                        <a:pt x="481" y="298"/>
                        <a:pt x="481" y="298"/>
                      </a:cubicBezTo>
                      <a:lnTo>
                        <a:pt x="481" y="618"/>
                      </a:lnTo>
                      <a:close/>
                      <a:moveTo>
                        <a:pt x="306" y="232"/>
                      </a:moveTo>
                      <a:cubicBezTo>
                        <a:pt x="306" y="55"/>
                        <a:pt x="306" y="55"/>
                        <a:pt x="306" y="55"/>
                      </a:cubicBezTo>
                      <a:cubicBezTo>
                        <a:pt x="481" y="232"/>
                        <a:pt x="481" y="232"/>
                        <a:pt x="481" y="232"/>
                      </a:cubicBezTo>
                      <a:cubicBezTo>
                        <a:pt x="306" y="232"/>
                        <a:pt x="306" y="232"/>
                        <a:pt x="306" y="2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50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68">
                    <a:solidFill>
                      <a:srgbClr val="000000"/>
                    </a:solidFill>
                    <a:ea typeface="MS PGothic" charset="0"/>
                  </a:endParaRPr>
                </a:p>
              </p:txBody>
            </p:sp>
          </p:grpSp>
          <p:sp>
            <p:nvSpPr>
              <p:cNvPr id="9" name="Right Arrow 223"/>
              <p:cNvSpPr/>
              <p:nvPr/>
            </p:nvSpPr>
            <p:spPr bwMode="auto">
              <a:xfrm>
                <a:off x="4127419" y="5396804"/>
                <a:ext cx="1929981" cy="509361"/>
              </a:xfrm>
              <a:prstGeom prst="rightArrow">
                <a:avLst>
                  <a:gd name="adj1" fmla="val 59973"/>
                  <a:gd name="adj2" fmla="val 64960"/>
                </a:avLst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pic>
        <p:nvPicPr>
          <p:cNvPr id="71" name="Picture 1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102" y="410935"/>
            <a:ext cx="2068549" cy="646422"/>
          </a:xfrm>
          <a:prstGeom prst="rect">
            <a:avLst/>
          </a:prstGeom>
        </p:spPr>
      </p:pic>
      <p:pic>
        <p:nvPicPr>
          <p:cNvPr id="72" name="Picture 7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18507" y="306723"/>
            <a:ext cx="2024572" cy="911058"/>
          </a:xfrm>
          <a:prstGeom prst="rect">
            <a:avLst/>
          </a:prstGeom>
        </p:spPr>
      </p:pic>
      <p:sp>
        <p:nvSpPr>
          <p:cNvPr id="73" name="Rectangle 3"/>
          <p:cNvSpPr/>
          <p:nvPr/>
        </p:nvSpPr>
        <p:spPr bwMode="auto">
          <a:xfrm>
            <a:off x="9891541" y="873590"/>
            <a:ext cx="2076353" cy="367534"/>
          </a:xfrm>
          <a:prstGeom prst="rect">
            <a:avLst/>
          </a:prstGeom>
          <a:noFill/>
          <a:ln w="31750" cap="sq" cmpd="sng" algn="ctr">
            <a:solidFill>
              <a:srgbClr val="00BCF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152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파일 분할</a:t>
            </a:r>
          </a:p>
        </p:txBody>
      </p:sp>
      <p:sp>
        <p:nvSpPr>
          <p:cNvPr id="4" name="Folded Corner 3"/>
          <p:cNvSpPr/>
          <p:nvPr/>
        </p:nvSpPr>
        <p:spPr bwMode="auto">
          <a:xfrm>
            <a:off x="533401" y="1302764"/>
            <a:ext cx="10934699" cy="1781176"/>
          </a:xfrm>
          <a:prstGeom prst="foldedCorner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큰 파일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1100101010011100101010011100101010011100110010101001110010101001110010101001110010101001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1100101010011100101010011100101010011100110010101001110010101001110010101001110010101001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1100101010011100101010011100101010011100110010101001110010101001110010101001110010101001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1100101010011100101010011100101010011100110010101001110010101001110010101001110010101001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1100101010011100101010011100101010011100110010101001110010101001110010101001110010101001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1100101010011100101010011100101010011100110010101001110010101001110010101001110010101001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1100101010011100101010011100101010011100110010101001110010101001110010101001110010101001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1100101010011100101010011100101010011100110010101001110010101001110010101001110010101001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pPr algn="ctr"/>
            <a:endParaRPr lang="en-US" sz="1000" b="0" dirty="0">
              <a:solidFill>
                <a:srgbClr val="01020B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15983" y="3083940"/>
            <a:ext cx="1056700" cy="394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6440MB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927102" y="4347908"/>
            <a:ext cx="1092199" cy="638176"/>
          </a:xfrm>
          <a:prstGeom prst="roundRect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133449" y="4347908"/>
            <a:ext cx="1092199" cy="638176"/>
          </a:xfrm>
          <a:prstGeom prst="roundRect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3339795" y="4347908"/>
            <a:ext cx="1092199" cy="638176"/>
          </a:xfrm>
          <a:prstGeom prst="roundRect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4546142" y="4347908"/>
            <a:ext cx="1092199" cy="638176"/>
          </a:xfrm>
          <a:prstGeom prst="roundRect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5752489" y="4347908"/>
            <a:ext cx="1092199" cy="638176"/>
          </a:xfrm>
          <a:prstGeom prst="roundRect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11" name="Rounded Rectangle 10"/>
          <p:cNvSpPr/>
          <p:nvPr/>
        </p:nvSpPr>
        <p:spPr bwMode="auto">
          <a:xfrm>
            <a:off x="6958833" y="4347908"/>
            <a:ext cx="1092199" cy="638176"/>
          </a:xfrm>
          <a:prstGeom prst="roundRect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8863833" y="4347908"/>
            <a:ext cx="1092199" cy="638176"/>
          </a:xfrm>
          <a:prstGeom prst="roundRect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100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10083033" y="4347908"/>
            <a:ext cx="889768" cy="638176"/>
          </a:xfrm>
          <a:prstGeom prst="roundRect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101</a:t>
            </a:r>
          </a:p>
        </p:txBody>
      </p:sp>
      <p:sp>
        <p:nvSpPr>
          <p:cNvPr id="14" name="Down Arrow 13"/>
          <p:cNvSpPr/>
          <p:nvPr/>
        </p:nvSpPr>
        <p:spPr bwMode="auto">
          <a:xfrm>
            <a:off x="5663127" y="3496626"/>
            <a:ext cx="362411" cy="457200"/>
          </a:xfrm>
          <a:prstGeom prst="downArrow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01945" y="5023231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4MB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308291" y="5023231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4MB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514638" y="5023231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4MB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720985" y="5023231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4MB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927331" y="5023231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4MB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133675" y="5023231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4MB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298765" y="4347908"/>
            <a:ext cx="3561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038675" y="5023231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4MB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167246" y="5023231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0MB</a:t>
            </a:r>
          </a:p>
        </p:txBody>
      </p:sp>
      <p:sp>
        <p:nvSpPr>
          <p:cNvPr id="24" name="Rounded Rectangle 24"/>
          <p:cNvSpPr/>
          <p:nvPr/>
        </p:nvSpPr>
        <p:spPr bwMode="auto">
          <a:xfrm>
            <a:off x="914481" y="4347908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25" name="Rounded Rectangle 25"/>
          <p:cNvSpPr/>
          <p:nvPr/>
        </p:nvSpPr>
        <p:spPr bwMode="auto">
          <a:xfrm>
            <a:off x="2146067" y="4347908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08585" y="3911255"/>
            <a:ext cx="2392001" cy="3940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ko-KR" altLang="en-US" sz="1961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컬러로 표현해 보면</a:t>
            </a:r>
            <a:r>
              <a:rPr lang="en-US" altLang="ko-KR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,</a:t>
            </a:r>
            <a:endParaRPr lang="en-US" sz="1961" dirty="0">
              <a:gradFill>
                <a:gsLst>
                  <a:gs pos="2920">
                    <a:schemeClr val="tx2"/>
                  </a:gs>
                  <a:gs pos="39000">
                    <a:schemeClr val="tx2"/>
                  </a:gs>
                </a:gsLst>
                <a:lin ang="5400000" scaled="0"/>
              </a:gradFill>
              <a:latin typeface="Segoe UI Light" panose="020B0502040204020203" pitchFamily="34" charset="0"/>
              <a:ea typeface="ＭＳ Ｐゴシック" charset="0"/>
              <a:cs typeface="Segoe UI Light" panose="020B0502040204020203" pitchFamily="34" charset="0"/>
            </a:endParaRPr>
          </a:p>
        </p:txBody>
      </p:sp>
      <p:sp>
        <p:nvSpPr>
          <p:cNvPr id="27" name="Rounded Rectangle 27"/>
          <p:cNvSpPr/>
          <p:nvPr/>
        </p:nvSpPr>
        <p:spPr bwMode="auto">
          <a:xfrm>
            <a:off x="3339795" y="4347908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Rounded Rectangle 28"/>
          <p:cNvSpPr/>
          <p:nvPr/>
        </p:nvSpPr>
        <p:spPr bwMode="auto">
          <a:xfrm>
            <a:off x="4546142" y="4347908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Rounded Rectangle 29"/>
          <p:cNvSpPr/>
          <p:nvPr/>
        </p:nvSpPr>
        <p:spPr bwMode="auto">
          <a:xfrm>
            <a:off x="5752489" y="4347908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Rounded Rectangle 30"/>
          <p:cNvSpPr/>
          <p:nvPr/>
        </p:nvSpPr>
        <p:spPr bwMode="auto">
          <a:xfrm>
            <a:off x="6971451" y="4347908"/>
            <a:ext cx="1092199" cy="638176"/>
          </a:xfrm>
          <a:prstGeom prst="roundRect">
            <a:avLst/>
          </a:prstGeom>
          <a:gradFill flip="none" rotWithShape="1">
            <a:gsLst>
              <a:gs pos="0">
                <a:srgbClr val="FFCC00">
                  <a:tint val="66000"/>
                  <a:satMod val="160000"/>
                </a:srgbClr>
              </a:gs>
              <a:gs pos="50000">
                <a:srgbClr val="FFCC00">
                  <a:tint val="44500"/>
                  <a:satMod val="160000"/>
                </a:srgbClr>
              </a:gs>
              <a:gs pos="100000">
                <a:srgbClr val="FFCC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1" name="Rounded Rectangle 31"/>
          <p:cNvSpPr/>
          <p:nvPr/>
        </p:nvSpPr>
        <p:spPr bwMode="auto">
          <a:xfrm>
            <a:off x="8876451" y="4347908"/>
            <a:ext cx="1092199" cy="638176"/>
          </a:xfrm>
          <a:prstGeom prst="roundRect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100</a:t>
            </a:r>
          </a:p>
        </p:txBody>
      </p:sp>
      <p:sp>
        <p:nvSpPr>
          <p:cNvPr id="32" name="Rounded Rectangle 32"/>
          <p:cNvSpPr/>
          <p:nvPr/>
        </p:nvSpPr>
        <p:spPr bwMode="auto">
          <a:xfrm>
            <a:off x="10083033" y="4347908"/>
            <a:ext cx="889768" cy="638176"/>
          </a:xfrm>
          <a:prstGeom prst="roundRect">
            <a:avLst/>
          </a:prstGeom>
          <a:gradFill flip="none" rotWithShape="1">
            <a:gsLst>
              <a:gs pos="0">
                <a:srgbClr val="FFCCFF">
                  <a:shade val="30000"/>
                  <a:satMod val="115000"/>
                </a:srgbClr>
              </a:gs>
              <a:gs pos="50000">
                <a:srgbClr val="FFCCFF">
                  <a:shade val="67500"/>
                  <a:satMod val="115000"/>
                </a:srgbClr>
              </a:gs>
              <a:gs pos="100000">
                <a:srgbClr val="FFCCFF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101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12404" y="6053011"/>
            <a:ext cx="2584362" cy="3940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ko-KR" altLang="en-US" sz="1961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예</a:t>
            </a:r>
            <a:r>
              <a:rPr lang="en-US" altLang="ko-KR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)</a:t>
            </a:r>
            <a:r>
              <a:rPr lang="en-US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 Block Size = 64MB</a:t>
            </a:r>
          </a:p>
        </p:txBody>
      </p:sp>
      <p:sp>
        <p:nvSpPr>
          <p:cNvPr id="34" name="Rectangle 34"/>
          <p:cNvSpPr/>
          <p:nvPr/>
        </p:nvSpPr>
        <p:spPr>
          <a:xfrm>
            <a:off x="4188777" y="5485442"/>
            <a:ext cx="8050692" cy="997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파일은 블록의 집합으로 구성됨</a:t>
            </a:r>
            <a:endParaRPr lang="en-US" sz="1961" dirty="0">
              <a:gradFill>
                <a:gsLst>
                  <a:gs pos="2920">
                    <a:schemeClr val="tx2"/>
                  </a:gs>
                  <a:gs pos="39000">
                    <a:schemeClr val="tx2"/>
                  </a:gs>
                </a:gsLst>
                <a:lin ang="5400000" scaled="0"/>
              </a:gradFill>
              <a:latin typeface="Segoe UI Light" panose="020B0502040204020203" pitchFamily="34" charset="0"/>
              <a:ea typeface="ＭＳ Ｐゴシック" charset="0"/>
              <a:cs typeface="Segoe UI Light" panose="020B0502040204020203" pitchFamily="34" charset="0"/>
            </a:endParaRPr>
          </a:p>
          <a:p>
            <a:pPr marL="0" lvl="1" indent="-285750">
              <a:buFont typeface="Arial" pitchFamily="34" charset="0"/>
              <a:buChar char="•"/>
            </a:pPr>
            <a:r>
              <a:rPr lang="ko-KR" altLang="en-US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일반적으로 </a:t>
            </a:r>
            <a:r>
              <a:rPr lang="en-US" altLang="ko-KR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64MB </a:t>
            </a:r>
            <a:r>
              <a:rPr lang="ko-KR" altLang="en-US" sz="1961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사이즈</a:t>
            </a:r>
            <a:endParaRPr lang="en-US" sz="1961" dirty="0">
              <a:gradFill>
                <a:gsLst>
                  <a:gs pos="2920">
                    <a:schemeClr val="tx2"/>
                  </a:gs>
                  <a:gs pos="39000">
                    <a:schemeClr val="tx2"/>
                  </a:gs>
                </a:gsLst>
                <a:lin ang="5400000" scaled="0"/>
              </a:gradFill>
              <a:latin typeface="Segoe UI Light" panose="020B0502040204020203" pitchFamily="34" charset="0"/>
              <a:ea typeface="ＭＳ Ｐゴシック" charset="0"/>
              <a:cs typeface="Segoe UI Light" panose="020B0502040204020203" pitchFamily="34" charset="0"/>
            </a:endParaRPr>
          </a:p>
          <a:p>
            <a:pPr marL="0" lvl="1" indent="-285750">
              <a:buFont typeface="Arial" pitchFamily="34" charset="0"/>
              <a:buChar char="•"/>
            </a:pPr>
            <a:r>
              <a:rPr lang="ko-KR" altLang="en-US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각 블록은 분할된 파일 형태로 로컬 파일 시스템에 저장됨</a:t>
            </a:r>
            <a:r>
              <a:rPr lang="en-US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 (</a:t>
            </a:r>
            <a:r>
              <a:rPr lang="ko-KR" altLang="en-US" sz="1961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예</a:t>
            </a:r>
            <a:r>
              <a:rPr lang="en-US" altLang="ko-KR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:</a:t>
            </a:r>
            <a:r>
              <a:rPr lang="en-US" sz="1961" dirty="0"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rPr>
              <a:t> NTFS)</a:t>
            </a:r>
          </a:p>
        </p:txBody>
      </p:sp>
    </p:spTree>
    <p:extLst>
      <p:ext uri="{BB962C8B-B14F-4D97-AF65-F5344CB8AC3E}">
        <p14:creationId xmlns:p14="http://schemas.microsoft.com/office/powerpoint/2010/main" val="2343112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0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5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45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 animBg="1"/>
      <p:bldP spid="25" grpId="0" animBg="1"/>
      <p:bldP spid="26" grpId="0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/>
      <p:bldP spid="3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블록</a:t>
            </a:r>
            <a:r>
              <a:rPr lang="en-US" altLang="ko-KR" dirty="0"/>
              <a:t> </a:t>
            </a:r>
            <a:r>
              <a:rPr lang="ko-KR" altLang="en-US"/>
              <a:t>배치</a:t>
            </a:r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271557" y="4694380"/>
            <a:ext cx="11653523" cy="1570954"/>
          </a:xfrm>
          <a:prstGeom prst="rect">
            <a:avLst/>
          </a:prstGeom>
        </p:spPr>
        <p:txBody>
          <a:bodyPr/>
          <a:lstStyle>
            <a:lvl1pPr marL="233149" indent="-233149" algn="l" defTabSz="932597" rtl="0" eaLnBrk="1" latinLnBrk="1" hangingPunct="1">
              <a:lnSpc>
                <a:spcPct val="90000"/>
              </a:lnSpc>
              <a:spcBef>
                <a:spcPts val="1020"/>
              </a:spcBef>
              <a:buFont typeface="Arial" panose="020B0604020202020204" pitchFamily="34" charset="0"/>
              <a:buChar char="•"/>
              <a:defRPr sz="28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9447" indent="-233149" algn="l" defTabSz="932597" rtl="0" eaLnBrk="1" latinLnBrk="1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1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1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1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1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1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1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1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ko-KR" alt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첫 번째 카피</a:t>
            </a:r>
            <a:r>
              <a:rPr lang="ko-KR" alt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는 파일을 생성한 </a:t>
            </a:r>
            <a:r>
              <a:rPr lang="ko-KR" alt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노드에</a:t>
            </a:r>
            <a:r>
              <a:rPr lang="ko-KR" alt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기록됨 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ko-KR" altLang="en-US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쓰기 선호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 lvl="1"/>
            <a:r>
              <a:rPr lang="ko-KR" alt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두 번째 카피</a:t>
            </a:r>
            <a:r>
              <a:rPr lang="ko-KR" alt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는 </a:t>
            </a:r>
            <a:r>
              <a:rPr lang="ko-KR" alt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같은 </a:t>
            </a:r>
            <a:r>
              <a:rPr lang="ko-KR" altLang="en-US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랙</a:t>
            </a:r>
            <a:r>
              <a:rPr lang="en-US" altLang="ko-KR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(rack)</a:t>
            </a:r>
            <a:r>
              <a:rPr lang="ko-KR" altLang="en-US">
                <a:latin typeface="Segoe UI Light" panose="020B0502040204020203" pitchFamily="34" charset="0"/>
                <a:cs typeface="Segoe UI Light" panose="020B0502040204020203" pitchFamily="34" charset="0"/>
              </a:rPr>
              <a:t>에 있는 데이터 노드에 기록됨</a:t>
            </a:r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ko-KR" altLang="en-US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랙을 가로지르는 과정에서 발생할 수 있는 네트워크 부하 최소화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 lvl="1"/>
            <a:r>
              <a:rPr lang="ko-KR" alt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세 번째 카피</a:t>
            </a:r>
            <a:r>
              <a:rPr lang="ko-KR" alt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는 </a:t>
            </a:r>
            <a:r>
              <a:rPr lang="ko-KR" alt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다른 </a:t>
            </a:r>
            <a:r>
              <a:rPr lang="ko-KR" altLang="en-US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랙</a:t>
            </a:r>
            <a:r>
              <a:rPr lang="en-US" altLang="ko-KR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(rack)</a:t>
            </a:r>
            <a:r>
              <a:rPr lang="ko-KR" altLang="en-US">
                <a:latin typeface="Segoe UI Light" panose="020B0502040204020203" pitchFamily="34" charset="0"/>
                <a:cs typeface="Segoe UI Light" panose="020B0502040204020203" pitchFamily="34" charset="0"/>
              </a:rPr>
              <a:t>에 있는 데이터 노드에 기록됨 </a:t>
            </a:r>
            <a:r>
              <a:rPr lang="en-US" altLang="ko-KR" dirty="0"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ko-KR" altLang="en-US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스위치의 오류 허용</a:t>
            </a:r>
            <a:r>
              <a:rPr lang="en-US" altLang="ko-KR" dirty="0"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 lvl="1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ounded Rectangle 4"/>
          <p:cNvSpPr/>
          <p:nvPr/>
        </p:nvSpPr>
        <p:spPr bwMode="auto">
          <a:xfrm>
            <a:off x="8741716" y="1370895"/>
            <a:ext cx="1339848" cy="2875975"/>
          </a:xfrm>
          <a:prstGeom prst="roundRect">
            <a:avLst>
              <a:gd name="adj" fmla="val 0"/>
            </a:avLst>
          </a:prstGeom>
          <a:solidFill>
            <a:srgbClr val="0078D7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+mj-lt"/>
            </a:endParaRPr>
          </a:p>
        </p:txBody>
      </p:sp>
      <p:sp>
        <p:nvSpPr>
          <p:cNvPr id="5" name="Rectangle 5"/>
          <p:cNvSpPr/>
          <p:nvPr/>
        </p:nvSpPr>
        <p:spPr>
          <a:xfrm>
            <a:off x="8894715" y="4325046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+mj-lt"/>
              </a:rPr>
              <a:t>Node 5</a:t>
            </a:r>
          </a:p>
        </p:txBody>
      </p:sp>
      <p:sp>
        <p:nvSpPr>
          <p:cNvPr id="6" name="Rounded Rectangle 7"/>
          <p:cNvSpPr/>
          <p:nvPr/>
        </p:nvSpPr>
        <p:spPr bwMode="auto">
          <a:xfrm>
            <a:off x="7046268" y="1370894"/>
            <a:ext cx="1339848" cy="2875975"/>
          </a:xfrm>
          <a:prstGeom prst="roundRect">
            <a:avLst>
              <a:gd name="adj" fmla="val 0"/>
            </a:avLst>
          </a:prstGeom>
          <a:solidFill>
            <a:srgbClr val="0078D7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+mj-lt"/>
            </a:endParaRPr>
          </a:p>
        </p:txBody>
      </p:sp>
      <p:sp>
        <p:nvSpPr>
          <p:cNvPr id="7" name="Rectangle 8"/>
          <p:cNvSpPr/>
          <p:nvPr/>
        </p:nvSpPr>
        <p:spPr>
          <a:xfrm>
            <a:off x="7199267" y="4325045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+mj-lt"/>
              </a:rPr>
              <a:t>Node 4</a:t>
            </a:r>
          </a:p>
        </p:txBody>
      </p:sp>
      <p:sp>
        <p:nvSpPr>
          <p:cNvPr id="8" name="Rounded Rectangle 10"/>
          <p:cNvSpPr/>
          <p:nvPr/>
        </p:nvSpPr>
        <p:spPr bwMode="auto">
          <a:xfrm>
            <a:off x="5338120" y="1370894"/>
            <a:ext cx="1339848" cy="2875975"/>
          </a:xfrm>
          <a:prstGeom prst="roundRect">
            <a:avLst>
              <a:gd name="adj" fmla="val 0"/>
            </a:avLst>
          </a:prstGeom>
          <a:solidFill>
            <a:srgbClr val="0078D7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+mj-lt"/>
            </a:endParaRPr>
          </a:p>
        </p:txBody>
      </p:sp>
      <p:sp>
        <p:nvSpPr>
          <p:cNvPr id="9" name="Rectangle 11"/>
          <p:cNvSpPr/>
          <p:nvPr/>
        </p:nvSpPr>
        <p:spPr>
          <a:xfrm>
            <a:off x="5491119" y="4325045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+mj-lt"/>
              </a:rPr>
              <a:t>Node 3</a:t>
            </a:r>
          </a:p>
        </p:txBody>
      </p:sp>
      <p:sp>
        <p:nvSpPr>
          <p:cNvPr id="10" name="Rounded Rectangle 13"/>
          <p:cNvSpPr/>
          <p:nvPr/>
        </p:nvSpPr>
        <p:spPr bwMode="auto">
          <a:xfrm>
            <a:off x="3591872" y="1370895"/>
            <a:ext cx="1339848" cy="2875975"/>
          </a:xfrm>
          <a:prstGeom prst="roundRect">
            <a:avLst>
              <a:gd name="adj" fmla="val 0"/>
            </a:avLst>
          </a:prstGeom>
          <a:solidFill>
            <a:srgbClr val="0078D7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+mj-lt"/>
            </a:endParaRPr>
          </a:p>
        </p:txBody>
      </p:sp>
      <p:sp>
        <p:nvSpPr>
          <p:cNvPr id="11" name="Rectangle 14"/>
          <p:cNvSpPr/>
          <p:nvPr/>
        </p:nvSpPr>
        <p:spPr>
          <a:xfrm>
            <a:off x="3744871" y="4325046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+mj-lt"/>
              </a:rPr>
              <a:t>Node 2</a:t>
            </a:r>
          </a:p>
        </p:txBody>
      </p:sp>
      <p:sp>
        <p:nvSpPr>
          <p:cNvPr id="12" name="Rounded Rectangle 16"/>
          <p:cNvSpPr/>
          <p:nvPr/>
        </p:nvSpPr>
        <p:spPr bwMode="auto">
          <a:xfrm>
            <a:off x="1883724" y="1370895"/>
            <a:ext cx="1339848" cy="2875975"/>
          </a:xfrm>
          <a:prstGeom prst="roundRect">
            <a:avLst>
              <a:gd name="adj" fmla="val 0"/>
            </a:avLst>
          </a:prstGeom>
          <a:solidFill>
            <a:srgbClr val="0078D7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+mj-lt"/>
            </a:endParaRPr>
          </a:p>
        </p:txBody>
      </p:sp>
      <p:sp>
        <p:nvSpPr>
          <p:cNvPr id="13" name="Rectangle 17"/>
          <p:cNvSpPr/>
          <p:nvPr/>
        </p:nvSpPr>
        <p:spPr>
          <a:xfrm>
            <a:off x="2036723" y="4325046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rgbClr val="01020B"/>
                </a:solidFill>
                <a:latin typeface="+mj-lt"/>
              </a:rPr>
              <a:t>Node 1</a:t>
            </a:r>
          </a:p>
        </p:txBody>
      </p:sp>
      <p:sp>
        <p:nvSpPr>
          <p:cNvPr id="14" name="Rounded Rectangle 18"/>
          <p:cNvSpPr/>
          <p:nvPr/>
        </p:nvSpPr>
        <p:spPr bwMode="auto">
          <a:xfrm>
            <a:off x="2007549" y="1618545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1</a:t>
            </a:r>
          </a:p>
        </p:txBody>
      </p:sp>
      <p:sp>
        <p:nvSpPr>
          <p:cNvPr id="15" name="Rounded Rectangle 19"/>
          <p:cNvSpPr/>
          <p:nvPr/>
        </p:nvSpPr>
        <p:spPr bwMode="auto">
          <a:xfrm>
            <a:off x="2007549" y="2390064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3</a:t>
            </a:r>
          </a:p>
        </p:txBody>
      </p:sp>
      <p:sp>
        <p:nvSpPr>
          <p:cNvPr id="16" name="Rounded Rectangle 20"/>
          <p:cNvSpPr/>
          <p:nvPr/>
        </p:nvSpPr>
        <p:spPr bwMode="auto">
          <a:xfrm>
            <a:off x="3715697" y="1618545"/>
            <a:ext cx="1092199" cy="638176"/>
          </a:xfrm>
          <a:prstGeom prst="roundRect">
            <a:avLst/>
          </a:prstGeom>
          <a:solidFill>
            <a:srgbClr val="00B294"/>
          </a:solidFill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2</a:t>
            </a:r>
          </a:p>
        </p:txBody>
      </p:sp>
      <p:sp>
        <p:nvSpPr>
          <p:cNvPr id="17" name="Rounded Rectangle 21"/>
          <p:cNvSpPr/>
          <p:nvPr/>
        </p:nvSpPr>
        <p:spPr bwMode="auto">
          <a:xfrm>
            <a:off x="3715697" y="2390064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1</a:t>
            </a:r>
          </a:p>
        </p:txBody>
      </p:sp>
      <p:sp>
        <p:nvSpPr>
          <p:cNvPr id="18" name="Rounded Rectangle 22"/>
          <p:cNvSpPr/>
          <p:nvPr/>
        </p:nvSpPr>
        <p:spPr bwMode="auto">
          <a:xfrm>
            <a:off x="5461945" y="1618544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3</a:t>
            </a:r>
          </a:p>
        </p:txBody>
      </p:sp>
      <p:sp>
        <p:nvSpPr>
          <p:cNvPr id="19" name="Rounded Rectangle 23"/>
          <p:cNvSpPr/>
          <p:nvPr/>
        </p:nvSpPr>
        <p:spPr bwMode="auto">
          <a:xfrm>
            <a:off x="7170093" y="1618544"/>
            <a:ext cx="1092199" cy="638176"/>
          </a:xfrm>
          <a:prstGeom prst="roundRect">
            <a:avLst/>
          </a:prstGeom>
          <a:solidFill>
            <a:srgbClr val="00B294"/>
          </a:solidFill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2</a:t>
            </a:r>
          </a:p>
        </p:txBody>
      </p:sp>
      <p:sp>
        <p:nvSpPr>
          <p:cNvPr id="20" name="Rounded Rectangle 24"/>
          <p:cNvSpPr/>
          <p:nvPr/>
        </p:nvSpPr>
        <p:spPr bwMode="auto">
          <a:xfrm>
            <a:off x="7170093" y="2390063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3</a:t>
            </a:r>
          </a:p>
        </p:txBody>
      </p:sp>
      <p:sp>
        <p:nvSpPr>
          <p:cNvPr id="21" name="Rounded Rectangle 25"/>
          <p:cNvSpPr/>
          <p:nvPr/>
        </p:nvSpPr>
        <p:spPr bwMode="auto">
          <a:xfrm>
            <a:off x="8865541" y="1618545"/>
            <a:ext cx="1092199" cy="638176"/>
          </a:xfrm>
          <a:prstGeom prst="roundRect">
            <a:avLst/>
          </a:prstGeom>
          <a:solidFill>
            <a:srgbClr val="00B294"/>
          </a:solidFill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2</a:t>
            </a:r>
          </a:p>
        </p:txBody>
      </p:sp>
      <p:sp>
        <p:nvSpPr>
          <p:cNvPr id="22" name="Rounded Rectangle 26"/>
          <p:cNvSpPr/>
          <p:nvPr/>
        </p:nvSpPr>
        <p:spPr bwMode="auto">
          <a:xfrm>
            <a:off x="7170093" y="3161584"/>
            <a:ext cx="1092199" cy="6381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Block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78516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DFS Node Type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altLang="ko-KR" dirty="0"/>
              <a:t>Name node – </a:t>
            </a:r>
            <a:r>
              <a:rPr lang="ko-KR" altLang="en-US"/>
              <a:t>클러스터 당 단일 인스턴스</a:t>
            </a:r>
            <a:r>
              <a:rPr lang="en-US" altLang="ko-KR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  <a:p>
            <a:pPr lvl="1"/>
            <a:r>
              <a:rPr lang="ko-KR" altLang="en-US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클러스터에서 파일 시스템 메타데이터 운영</a:t>
            </a:r>
            <a:r>
              <a:rPr lang="en-US" altLang="ko-KR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, </a:t>
            </a:r>
            <a:r>
              <a:rPr lang="ko-KR" altLang="en-US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복제</a:t>
            </a:r>
            <a:r>
              <a:rPr lang="en-US" altLang="ko-KR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, </a:t>
            </a:r>
            <a:r>
              <a:rPr lang="ko-KR" altLang="en-US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각 파일 블록의 위치등을 담당</a:t>
            </a:r>
            <a:endParaRPr lang="en-US" altLang="ko-KR" dirty="0"/>
          </a:p>
          <a:p>
            <a:r>
              <a:rPr lang="en-US" altLang="ko-KR" dirty="0"/>
              <a:t>Data Node – </a:t>
            </a:r>
            <a:r>
              <a:rPr lang="ko-KR" altLang="en-US"/>
              <a:t>클러스터의 각 노드에 하나의 인스턴스</a:t>
            </a:r>
            <a:endParaRPr lang="en-US" altLang="ko-KR" dirty="0"/>
          </a:p>
          <a:p>
            <a:pPr lvl="1"/>
            <a:r>
              <a:rPr lang="ko-KR" altLang="en-US" dirty="0"/>
              <a:t>파일 블록 저장소</a:t>
            </a:r>
            <a:r>
              <a:rPr lang="en-US" altLang="ko-KR" dirty="0"/>
              <a:t>, </a:t>
            </a:r>
            <a:r>
              <a:rPr lang="ko-KR" altLang="en-US"/>
              <a:t>해당 파일 데이터를 클라이언트로 서비스</a:t>
            </a:r>
            <a:endParaRPr lang="en-US" altLang="ko-KR" dirty="0"/>
          </a:p>
          <a:p>
            <a:pPr lvl="1"/>
            <a:endParaRPr lang="en-US" altLang="ko-KR" dirty="0">
              <a:gradFill>
                <a:gsLst>
                  <a:gs pos="1250">
                    <a:schemeClr val="tx2"/>
                  </a:gs>
                  <a:gs pos="99000">
                    <a:schemeClr val="tx2"/>
                  </a:gs>
                </a:gsLst>
                <a:lin ang="5400000" scaled="0"/>
              </a:gradFill>
            </a:endParaRPr>
          </a:p>
          <a:p>
            <a:r>
              <a:rPr lang="en-US" altLang="ko-KR" dirty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rPr>
              <a:t>Backup Node / Checkpoint Node </a:t>
            </a:r>
            <a:r>
              <a:rPr lang="en-US" altLang="ko-KR" dirty="0"/>
              <a:t>Name Node</a:t>
            </a:r>
            <a:r>
              <a:rPr lang="ko-KR" altLang="en-US"/>
              <a:t>의 백업 담당</a:t>
            </a:r>
            <a:endParaRPr lang="en-US" altLang="ko-KR" dirty="0">
              <a:gradFill>
                <a:gsLst>
                  <a:gs pos="1250">
                    <a:schemeClr val="tx2"/>
                  </a:gs>
                  <a:gs pos="99000">
                    <a:schemeClr val="tx2"/>
                  </a:gs>
                </a:gsLst>
                <a:lin ang="5400000" scaled="0"/>
              </a:gradFill>
            </a:endParaRP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36202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DFS Architecture</a:t>
            </a:r>
            <a:endParaRPr lang="ko-KR" altLang="en-US"/>
          </a:p>
        </p:txBody>
      </p:sp>
      <p:sp>
        <p:nvSpPr>
          <p:cNvPr id="4" name="Rounded Rectangle 4"/>
          <p:cNvSpPr/>
          <p:nvPr/>
        </p:nvSpPr>
        <p:spPr bwMode="auto">
          <a:xfrm>
            <a:off x="4660900" y="1104901"/>
            <a:ext cx="2209800" cy="628651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ounded Rectangle 6"/>
          <p:cNvSpPr/>
          <p:nvPr/>
        </p:nvSpPr>
        <p:spPr bwMode="auto">
          <a:xfrm>
            <a:off x="7708900" y="1200150"/>
            <a:ext cx="2209800" cy="43815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1003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ackup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" name="Group 10"/>
          <p:cNvGrpSpPr/>
          <p:nvPr/>
        </p:nvGrpSpPr>
        <p:grpSpPr>
          <a:xfrm>
            <a:off x="673099" y="4514849"/>
            <a:ext cx="1778001" cy="904875"/>
            <a:chOff x="876299" y="4552950"/>
            <a:chExt cx="1333501" cy="904875"/>
          </a:xfrm>
        </p:grpSpPr>
        <p:sp>
          <p:nvSpPr>
            <p:cNvPr id="7" name="Rounded Rectangle 5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2794000" y="4514849"/>
            <a:ext cx="1778001" cy="904875"/>
            <a:chOff x="876299" y="4552950"/>
            <a:chExt cx="1333501" cy="904875"/>
          </a:xfrm>
        </p:grpSpPr>
        <p:sp>
          <p:nvSpPr>
            <p:cNvPr id="12" name="Rounded Rectangle 1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Rounded Rectangle 1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Rounded Rectangle 1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" name="Rounded Rectangle 1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4914900" y="4514849"/>
            <a:ext cx="1778001" cy="904875"/>
            <a:chOff x="876299" y="4552950"/>
            <a:chExt cx="1333501" cy="904875"/>
          </a:xfrm>
        </p:grpSpPr>
        <p:sp>
          <p:nvSpPr>
            <p:cNvPr id="17" name="Rounded Rectangle 17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Rounded Rectangle 18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9" name="Rounded Rectangle 19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0" name="Rounded Rectangle 20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7035800" y="4514849"/>
            <a:ext cx="1778001" cy="904875"/>
            <a:chOff x="876299" y="4552950"/>
            <a:chExt cx="1333501" cy="904875"/>
          </a:xfrm>
        </p:grpSpPr>
        <p:sp>
          <p:nvSpPr>
            <p:cNvPr id="22" name="Rounded Rectangle 2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3" name="Rounded Rectangle 2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4" name="Rounded Rectangle 2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ounded Rectangle 2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6" name="Group 26"/>
          <p:cNvGrpSpPr/>
          <p:nvPr/>
        </p:nvGrpSpPr>
        <p:grpSpPr>
          <a:xfrm>
            <a:off x="9156700" y="4514849"/>
            <a:ext cx="1778001" cy="904875"/>
            <a:chOff x="876299" y="4552950"/>
            <a:chExt cx="1333501" cy="904875"/>
          </a:xfrm>
        </p:grpSpPr>
        <p:sp>
          <p:nvSpPr>
            <p:cNvPr id="27" name="Rounded Rectangle 27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" name="Rounded Rectangle 28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Rounded Rectangle 29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0" name="Rounded Rectangle 30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cxnSp>
        <p:nvCxnSpPr>
          <p:cNvPr id="31" name="Straight Connector 32"/>
          <p:cNvCxnSpPr>
            <a:stCxn id="4" idx="3"/>
            <a:endCxn id="5" idx="1"/>
          </p:cNvCxnSpPr>
          <p:nvPr/>
        </p:nvCxnSpPr>
        <p:spPr bwMode="auto">
          <a:xfrm flipV="1">
            <a:off x="6870700" y="1419226"/>
            <a:ext cx="838200" cy="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lg" len="lg"/>
            <a:tailEnd type="triangle" w="lg" len="lg"/>
          </a:ln>
          <a:effectLst/>
        </p:spPr>
      </p:cxnSp>
      <p:cxnSp>
        <p:nvCxnSpPr>
          <p:cNvPr id="32" name="Straight Connector 34"/>
          <p:cNvCxnSpPr>
            <a:stCxn id="4" idx="2"/>
            <a:endCxn id="7" idx="0"/>
          </p:cNvCxnSpPr>
          <p:nvPr/>
        </p:nvCxnSpPr>
        <p:spPr bwMode="auto">
          <a:xfrm flipH="1">
            <a:off x="1562101" y="1733552"/>
            <a:ext cx="4203700" cy="27812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3" name="Straight Connector 35"/>
          <p:cNvCxnSpPr>
            <a:stCxn id="4" idx="2"/>
            <a:endCxn id="12" idx="0"/>
          </p:cNvCxnSpPr>
          <p:nvPr/>
        </p:nvCxnSpPr>
        <p:spPr bwMode="auto">
          <a:xfrm flipH="1">
            <a:off x="3683000" y="1733552"/>
            <a:ext cx="2082800" cy="27812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4" name="Straight Connector 38"/>
          <p:cNvCxnSpPr>
            <a:stCxn id="4" idx="2"/>
            <a:endCxn id="17" idx="0"/>
          </p:cNvCxnSpPr>
          <p:nvPr/>
        </p:nvCxnSpPr>
        <p:spPr bwMode="auto">
          <a:xfrm>
            <a:off x="5765801" y="1733552"/>
            <a:ext cx="38100" cy="27812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5" name="Straight Connector 41"/>
          <p:cNvCxnSpPr>
            <a:stCxn id="4" idx="2"/>
            <a:endCxn id="22" idx="0"/>
          </p:cNvCxnSpPr>
          <p:nvPr/>
        </p:nvCxnSpPr>
        <p:spPr bwMode="auto">
          <a:xfrm>
            <a:off x="5765800" y="1733552"/>
            <a:ext cx="2159000" cy="27812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6" name="Straight Connector 44"/>
          <p:cNvCxnSpPr>
            <a:stCxn id="4" idx="2"/>
            <a:endCxn id="27" idx="0"/>
          </p:cNvCxnSpPr>
          <p:nvPr/>
        </p:nvCxnSpPr>
        <p:spPr bwMode="auto">
          <a:xfrm>
            <a:off x="5765801" y="1733552"/>
            <a:ext cx="4279900" cy="27812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2449091" y="3124199"/>
            <a:ext cx="4106958" cy="400110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heartbeat, balancing, replication </a:t>
            </a: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등</a:t>
            </a:r>
            <a:r>
              <a:rPr 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</p:txBody>
      </p:sp>
      <p:grpSp>
        <p:nvGrpSpPr>
          <p:cNvPr id="38" name="Group 31"/>
          <p:cNvGrpSpPr/>
          <p:nvPr/>
        </p:nvGrpSpPr>
        <p:grpSpPr>
          <a:xfrm>
            <a:off x="1003300" y="5419723"/>
            <a:ext cx="9651997" cy="1157288"/>
            <a:chOff x="752475" y="5419723"/>
            <a:chExt cx="7238998" cy="1157288"/>
          </a:xfrm>
        </p:grpSpPr>
        <p:grpSp>
          <p:nvGrpSpPr>
            <p:cNvPr id="39" name="Group 50"/>
            <p:cNvGrpSpPr/>
            <p:nvPr/>
          </p:nvGrpSpPr>
          <p:grpSpPr>
            <a:xfrm>
              <a:off x="752475" y="5829300"/>
              <a:ext cx="842960" cy="733422"/>
              <a:chOff x="685800" y="5915025"/>
              <a:chExt cx="1014408" cy="733422"/>
            </a:xfrm>
          </p:grpSpPr>
          <p:sp>
            <p:nvSpPr>
              <p:cNvPr id="61" name="Can 49"/>
              <p:cNvSpPr/>
              <p:nvPr/>
            </p:nvSpPr>
            <p:spPr bwMode="auto">
              <a:xfrm>
                <a:off x="690558" y="6391272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2" name="Can 48"/>
              <p:cNvSpPr/>
              <p:nvPr/>
            </p:nvSpPr>
            <p:spPr bwMode="auto">
              <a:xfrm>
                <a:off x="685800" y="6153148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3" name="Can 47"/>
              <p:cNvSpPr/>
              <p:nvPr/>
            </p:nvSpPr>
            <p:spPr bwMode="auto">
              <a:xfrm>
                <a:off x="685800" y="5915025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40" name="Straight Connector 51"/>
            <p:cNvCxnSpPr>
              <a:stCxn id="7" idx="2"/>
              <a:endCxn id="63" idx="1"/>
            </p:cNvCxnSpPr>
            <p:nvPr/>
          </p:nvCxnSpPr>
          <p:spPr bwMode="auto">
            <a:xfrm>
              <a:off x="1171575" y="5419723"/>
              <a:ext cx="403" cy="409577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  <p:grpSp>
          <p:nvGrpSpPr>
            <p:cNvPr id="41" name="Group 55"/>
            <p:cNvGrpSpPr/>
            <p:nvPr/>
          </p:nvGrpSpPr>
          <p:grpSpPr>
            <a:xfrm>
              <a:off x="2347910" y="5843589"/>
              <a:ext cx="839006" cy="733422"/>
              <a:chOff x="685800" y="5915025"/>
              <a:chExt cx="1009650" cy="733422"/>
            </a:xfrm>
          </p:grpSpPr>
          <p:sp>
            <p:nvSpPr>
              <p:cNvPr id="58" name="Can 56"/>
              <p:cNvSpPr/>
              <p:nvPr/>
            </p:nvSpPr>
            <p:spPr bwMode="auto">
              <a:xfrm>
                <a:off x="685800" y="6391272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9" name="Can 57"/>
              <p:cNvSpPr/>
              <p:nvPr/>
            </p:nvSpPr>
            <p:spPr bwMode="auto">
              <a:xfrm>
                <a:off x="685800" y="6153149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0" name="Can 58"/>
              <p:cNvSpPr/>
              <p:nvPr/>
            </p:nvSpPr>
            <p:spPr bwMode="auto">
              <a:xfrm>
                <a:off x="685800" y="5915025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42" name="Straight Connector 59"/>
            <p:cNvCxnSpPr>
              <a:endCxn id="60" idx="1"/>
            </p:cNvCxnSpPr>
            <p:nvPr/>
          </p:nvCxnSpPr>
          <p:spPr bwMode="auto">
            <a:xfrm>
              <a:off x="2767010" y="5434012"/>
              <a:ext cx="403" cy="409577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  <p:grpSp>
          <p:nvGrpSpPr>
            <p:cNvPr id="43" name="Group 60"/>
            <p:cNvGrpSpPr/>
            <p:nvPr/>
          </p:nvGrpSpPr>
          <p:grpSpPr>
            <a:xfrm>
              <a:off x="3904847" y="5829300"/>
              <a:ext cx="839006" cy="733422"/>
              <a:chOff x="685800" y="5915025"/>
              <a:chExt cx="1009650" cy="733422"/>
            </a:xfrm>
          </p:grpSpPr>
          <p:sp>
            <p:nvSpPr>
              <p:cNvPr id="55" name="Can 61"/>
              <p:cNvSpPr/>
              <p:nvPr/>
            </p:nvSpPr>
            <p:spPr bwMode="auto">
              <a:xfrm>
                <a:off x="685800" y="6391272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6" name="Can 62"/>
              <p:cNvSpPr/>
              <p:nvPr/>
            </p:nvSpPr>
            <p:spPr bwMode="auto">
              <a:xfrm>
                <a:off x="685800" y="6153149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7" name="Can 63"/>
              <p:cNvSpPr/>
              <p:nvPr/>
            </p:nvSpPr>
            <p:spPr bwMode="auto">
              <a:xfrm>
                <a:off x="685800" y="5915025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44" name="Straight Connector 64"/>
            <p:cNvCxnSpPr>
              <a:endCxn id="57" idx="1"/>
            </p:cNvCxnSpPr>
            <p:nvPr/>
          </p:nvCxnSpPr>
          <p:spPr bwMode="auto">
            <a:xfrm>
              <a:off x="4323947" y="5419723"/>
              <a:ext cx="403" cy="409577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  <p:grpSp>
          <p:nvGrpSpPr>
            <p:cNvPr id="45" name="Group 65"/>
            <p:cNvGrpSpPr/>
            <p:nvPr/>
          </p:nvGrpSpPr>
          <p:grpSpPr>
            <a:xfrm>
              <a:off x="5538380" y="5843589"/>
              <a:ext cx="839006" cy="733422"/>
              <a:chOff x="685800" y="5915025"/>
              <a:chExt cx="1009650" cy="733422"/>
            </a:xfrm>
          </p:grpSpPr>
          <p:sp>
            <p:nvSpPr>
              <p:cNvPr id="52" name="Can 66"/>
              <p:cNvSpPr/>
              <p:nvPr/>
            </p:nvSpPr>
            <p:spPr bwMode="auto">
              <a:xfrm>
                <a:off x="685800" y="6391272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3" name="Can 67"/>
              <p:cNvSpPr/>
              <p:nvPr/>
            </p:nvSpPr>
            <p:spPr bwMode="auto">
              <a:xfrm>
                <a:off x="685800" y="6153149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4" name="Can 68"/>
              <p:cNvSpPr/>
              <p:nvPr/>
            </p:nvSpPr>
            <p:spPr bwMode="auto">
              <a:xfrm>
                <a:off x="685800" y="5915025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46" name="Straight Connector 69"/>
            <p:cNvCxnSpPr>
              <a:endCxn id="54" idx="1"/>
            </p:cNvCxnSpPr>
            <p:nvPr/>
          </p:nvCxnSpPr>
          <p:spPr bwMode="auto">
            <a:xfrm>
              <a:off x="5957480" y="5434012"/>
              <a:ext cx="403" cy="409577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  <p:grpSp>
          <p:nvGrpSpPr>
            <p:cNvPr id="47" name="Group 70"/>
            <p:cNvGrpSpPr/>
            <p:nvPr/>
          </p:nvGrpSpPr>
          <p:grpSpPr>
            <a:xfrm>
              <a:off x="7152467" y="5834064"/>
              <a:ext cx="839006" cy="733422"/>
              <a:chOff x="685800" y="5915025"/>
              <a:chExt cx="1009650" cy="733422"/>
            </a:xfrm>
          </p:grpSpPr>
          <p:sp>
            <p:nvSpPr>
              <p:cNvPr id="49" name="Can 71"/>
              <p:cNvSpPr/>
              <p:nvPr/>
            </p:nvSpPr>
            <p:spPr bwMode="auto">
              <a:xfrm>
                <a:off x="685800" y="6391272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0" name="Can 72"/>
              <p:cNvSpPr/>
              <p:nvPr/>
            </p:nvSpPr>
            <p:spPr bwMode="auto">
              <a:xfrm>
                <a:off x="685800" y="6153149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1" name="Can 73"/>
              <p:cNvSpPr/>
              <p:nvPr/>
            </p:nvSpPr>
            <p:spPr bwMode="auto">
              <a:xfrm>
                <a:off x="685800" y="5915025"/>
                <a:ext cx="1009650" cy="257175"/>
              </a:xfrm>
              <a:prstGeom prst="can">
                <a:avLst/>
              </a:prstGeom>
              <a:ln w="12700">
                <a:headEnd type="none" w="med" len="med"/>
                <a:tailEnd type="none" w="med" len="med"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48" name="Straight Connector 74"/>
            <p:cNvCxnSpPr>
              <a:endCxn id="51" idx="1"/>
            </p:cNvCxnSpPr>
            <p:nvPr/>
          </p:nvCxnSpPr>
          <p:spPr bwMode="auto">
            <a:xfrm>
              <a:off x="7571567" y="5424487"/>
              <a:ext cx="403" cy="409577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</p:grpSp>
      <p:sp>
        <p:nvSpPr>
          <p:cNvPr id="64" name="TextBox 63"/>
          <p:cNvSpPr txBox="1"/>
          <p:nvPr/>
        </p:nvSpPr>
        <p:spPr>
          <a:xfrm>
            <a:off x="3731500" y="6030398"/>
            <a:ext cx="1996059" cy="400110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cal disk</a:t>
            </a: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에 기록</a:t>
            </a:r>
            <a:endParaRPr lang="en-US" sz="20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692900" y="1731409"/>
            <a:ext cx="2135521" cy="36933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8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espace backups</a:t>
            </a:r>
          </a:p>
        </p:txBody>
      </p:sp>
    </p:spTree>
    <p:extLst>
      <p:ext uri="{BB962C8B-B14F-4D97-AF65-F5344CB8AC3E}">
        <p14:creationId xmlns:p14="http://schemas.microsoft.com/office/powerpoint/2010/main" val="48782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64" grpId="0" animBg="1"/>
      <p:bldP spid="6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DFS</a:t>
            </a:r>
            <a:r>
              <a:rPr lang="ko-KR" altLang="en-US"/>
              <a:t>에 파일 밀어넣기</a:t>
            </a:r>
          </a:p>
        </p:txBody>
      </p:sp>
      <p:sp>
        <p:nvSpPr>
          <p:cNvPr id="4" name="Rounded Rectangle 89"/>
          <p:cNvSpPr/>
          <p:nvPr/>
        </p:nvSpPr>
        <p:spPr bwMode="auto">
          <a:xfrm>
            <a:off x="660397" y="4981572"/>
            <a:ext cx="1778001" cy="904875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Data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ounded Rectangle 90"/>
          <p:cNvSpPr/>
          <p:nvPr/>
        </p:nvSpPr>
        <p:spPr bwMode="auto">
          <a:xfrm>
            <a:off x="927098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ounded Rectangle 91"/>
          <p:cNvSpPr/>
          <p:nvPr/>
        </p:nvSpPr>
        <p:spPr bwMode="auto">
          <a:xfrm>
            <a:off x="1365247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Rounded Rectangle 94"/>
          <p:cNvSpPr/>
          <p:nvPr/>
        </p:nvSpPr>
        <p:spPr bwMode="auto">
          <a:xfrm>
            <a:off x="2781297" y="4981572"/>
            <a:ext cx="1778001" cy="904875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Data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ounded Rectangle 95"/>
          <p:cNvSpPr/>
          <p:nvPr/>
        </p:nvSpPr>
        <p:spPr bwMode="auto">
          <a:xfrm>
            <a:off x="3047998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ounded Rectangle 96"/>
          <p:cNvSpPr/>
          <p:nvPr/>
        </p:nvSpPr>
        <p:spPr bwMode="auto">
          <a:xfrm>
            <a:off x="3486147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ounded Rectangle 97"/>
          <p:cNvSpPr/>
          <p:nvPr/>
        </p:nvSpPr>
        <p:spPr bwMode="auto">
          <a:xfrm>
            <a:off x="3936995" y="5472108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ounded Rectangle 99"/>
          <p:cNvSpPr/>
          <p:nvPr/>
        </p:nvSpPr>
        <p:spPr bwMode="auto">
          <a:xfrm>
            <a:off x="4902197" y="4981572"/>
            <a:ext cx="1778001" cy="904875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Data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ounded Rectangle 100"/>
          <p:cNvSpPr/>
          <p:nvPr/>
        </p:nvSpPr>
        <p:spPr bwMode="auto">
          <a:xfrm>
            <a:off x="5168898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ounded Rectangle 101"/>
          <p:cNvSpPr/>
          <p:nvPr/>
        </p:nvSpPr>
        <p:spPr bwMode="auto">
          <a:xfrm>
            <a:off x="5607047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ounded Rectangle 102"/>
          <p:cNvSpPr/>
          <p:nvPr/>
        </p:nvSpPr>
        <p:spPr bwMode="auto">
          <a:xfrm>
            <a:off x="6057895" y="5472108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ounded Rectangle 104"/>
          <p:cNvSpPr/>
          <p:nvPr/>
        </p:nvSpPr>
        <p:spPr bwMode="auto">
          <a:xfrm>
            <a:off x="7023097" y="4981572"/>
            <a:ext cx="1778001" cy="904875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Data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Rounded Rectangle 105"/>
          <p:cNvSpPr/>
          <p:nvPr/>
        </p:nvSpPr>
        <p:spPr bwMode="auto">
          <a:xfrm>
            <a:off x="7289798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Rounded Rectangle 106"/>
          <p:cNvSpPr/>
          <p:nvPr/>
        </p:nvSpPr>
        <p:spPr bwMode="auto">
          <a:xfrm>
            <a:off x="7727947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ounded Rectangle 109"/>
          <p:cNvSpPr/>
          <p:nvPr/>
        </p:nvSpPr>
        <p:spPr bwMode="auto">
          <a:xfrm>
            <a:off x="9143997" y="4981572"/>
            <a:ext cx="1778001" cy="904875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Data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ounded Rectangle 110"/>
          <p:cNvSpPr/>
          <p:nvPr/>
        </p:nvSpPr>
        <p:spPr bwMode="auto">
          <a:xfrm>
            <a:off x="9410698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ounded Rectangle 111"/>
          <p:cNvSpPr/>
          <p:nvPr/>
        </p:nvSpPr>
        <p:spPr bwMode="auto">
          <a:xfrm>
            <a:off x="9848847" y="547210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1" name="Rounded Rectangle 4"/>
          <p:cNvSpPr/>
          <p:nvPr/>
        </p:nvSpPr>
        <p:spPr bwMode="auto">
          <a:xfrm>
            <a:off x="6661144" y="3409267"/>
            <a:ext cx="2209800" cy="628651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2" name="Rounded Rectangle 6"/>
          <p:cNvSpPr/>
          <p:nvPr/>
        </p:nvSpPr>
        <p:spPr bwMode="auto">
          <a:xfrm>
            <a:off x="9556744" y="3504516"/>
            <a:ext cx="2209800" cy="43815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1003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ackup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3" name="Straight Connector 32"/>
          <p:cNvCxnSpPr>
            <a:stCxn id="21" idx="3"/>
            <a:endCxn id="22" idx="1"/>
          </p:cNvCxnSpPr>
          <p:nvPr/>
        </p:nvCxnSpPr>
        <p:spPr bwMode="auto">
          <a:xfrm flipV="1">
            <a:off x="8870944" y="3723592"/>
            <a:ext cx="685800" cy="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lg" len="lg"/>
            <a:tailEnd type="triangle" w="lg" len="lg"/>
          </a:ln>
          <a:effectLst/>
        </p:spPr>
      </p:cxnSp>
      <p:cxnSp>
        <p:nvCxnSpPr>
          <p:cNvPr id="24" name="Straight Connector 34"/>
          <p:cNvCxnSpPr>
            <a:stCxn id="21" idx="2"/>
            <a:endCxn id="4" idx="0"/>
          </p:cNvCxnSpPr>
          <p:nvPr/>
        </p:nvCxnSpPr>
        <p:spPr bwMode="auto">
          <a:xfrm flipH="1">
            <a:off x="1549398" y="4037917"/>
            <a:ext cx="6216647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25" name="Straight Connector 35"/>
          <p:cNvCxnSpPr>
            <a:stCxn id="21" idx="2"/>
            <a:endCxn id="7" idx="0"/>
          </p:cNvCxnSpPr>
          <p:nvPr/>
        </p:nvCxnSpPr>
        <p:spPr bwMode="auto">
          <a:xfrm flipH="1">
            <a:off x="3670297" y="4037917"/>
            <a:ext cx="4095747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26" name="Straight Connector 38"/>
          <p:cNvCxnSpPr>
            <a:stCxn id="21" idx="2"/>
            <a:endCxn id="11" idx="0"/>
          </p:cNvCxnSpPr>
          <p:nvPr/>
        </p:nvCxnSpPr>
        <p:spPr bwMode="auto">
          <a:xfrm flipH="1">
            <a:off x="5791198" y="4037917"/>
            <a:ext cx="1974847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27" name="Straight Connector 41"/>
          <p:cNvCxnSpPr>
            <a:stCxn id="21" idx="2"/>
            <a:endCxn id="15" idx="0"/>
          </p:cNvCxnSpPr>
          <p:nvPr/>
        </p:nvCxnSpPr>
        <p:spPr bwMode="auto">
          <a:xfrm>
            <a:off x="7766044" y="4037917"/>
            <a:ext cx="146053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28" name="Straight Connector 44"/>
          <p:cNvCxnSpPr>
            <a:stCxn id="21" idx="2"/>
            <a:endCxn id="18" idx="0"/>
          </p:cNvCxnSpPr>
          <p:nvPr/>
        </p:nvCxnSpPr>
        <p:spPr bwMode="auto">
          <a:xfrm>
            <a:off x="7766045" y="4037917"/>
            <a:ext cx="2266953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sp>
        <p:nvSpPr>
          <p:cNvPr id="29" name="Folded Corner 2"/>
          <p:cNvSpPr/>
          <p:nvPr/>
        </p:nvSpPr>
        <p:spPr bwMode="auto">
          <a:xfrm>
            <a:off x="177797" y="1523999"/>
            <a:ext cx="1371600" cy="1651518"/>
          </a:xfrm>
          <a:prstGeom prst="foldedCorner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Giant File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10100101010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11001010100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010100101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01100101010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10101001010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001100101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01010100101</a:t>
            </a:r>
          </a:p>
        </p:txBody>
      </p:sp>
      <p:sp>
        <p:nvSpPr>
          <p:cNvPr id="30" name="Rounded Rectangle 78"/>
          <p:cNvSpPr/>
          <p:nvPr/>
        </p:nvSpPr>
        <p:spPr bwMode="auto">
          <a:xfrm>
            <a:off x="3581400" y="2106095"/>
            <a:ext cx="1333499" cy="715927"/>
          </a:xfrm>
          <a:prstGeom prst="roundRect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HDFS</a:t>
            </a:r>
          </a:p>
          <a:p>
            <a:pPr algn="ctr"/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lient</a:t>
            </a:r>
            <a:endParaRPr kumimoji="0" lang="en-US" sz="18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31" name="Straight Connector 79"/>
          <p:cNvCxnSpPr>
            <a:stCxn id="30" idx="3"/>
            <a:endCxn id="21" idx="1"/>
          </p:cNvCxnSpPr>
          <p:nvPr/>
        </p:nvCxnSpPr>
        <p:spPr bwMode="auto">
          <a:xfrm>
            <a:off x="4914899" y="2464058"/>
            <a:ext cx="1746245" cy="1259534"/>
          </a:xfrm>
          <a:prstGeom prst="line">
            <a:avLst/>
          </a:prstGeom>
          <a:ln>
            <a:solidFill>
              <a:srgbClr val="A50021"/>
            </a:solidFill>
            <a:headEnd type="triangl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4999955" y="1694334"/>
            <a:ext cx="2052164" cy="3231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{node1, node2, node 3}</a:t>
            </a:r>
          </a:p>
        </p:txBody>
      </p:sp>
      <p:sp>
        <p:nvSpPr>
          <p:cNvPr id="33" name="Rounded Rectangle 45"/>
          <p:cNvSpPr/>
          <p:nvPr/>
        </p:nvSpPr>
        <p:spPr bwMode="auto">
          <a:xfrm>
            <a:off x="2108202" y="1855917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Rounded Rectangle 46"/>
          <p:cNvSpPr/>
          <p:nvPr/>
        </p:nvSpPr>
        <p:spPr bwMode="auto">
          <a:xfrm>
            <a:off x="2546351" y="1855917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5" name="Rounded Rectangle 47"/>
          <p:cNvSpPr/>
          <p:nvPr/>
        </p:nvSpPr>
        <p:spPr bwMode="auto">
          <a:xfrm>
            <a:off x="2997199" y="1855916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Rounded Rectangle 48"/>
          <p:cNvSpPr/>
          <p:nvPr/>
        </p:nvSpPr>
        <p:spPr bwMode="auto">
          <a:xfrm>
            <a:off x="2108202" y="2187834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7" name="Rounded Rectangle 49"/>
          <p:cNvSpPr/>
          <p:nvPr/>
        </p:nvSpPr>
        <p:spPr bwMode="auto">
          <a:xfrm>
            <a:off x="2546351" y="2187834"/>
            <a:ext cx="368300" cy="276225"/>
          </a:xfrm>
          <a:prstGeom prst="roundRect">
            <a:avLst/>
          </a:prstGeom>
          <a:solidFill>
            <a:srgbClr val="FFFF93"/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ounded Rectangle 50"/>
          <p:cNvSpPr/>
          <p:nvPr/>
        </p:nvSpPr>
        <p:spPr bwMode="auto">
          <a:xfrm>
            <a:off x="2997199" y="2187833"/>
            <a:ext cx="368300" cy="276225"/>
          </a:xfrm>
          <a:prstGeom prst="roundRect">
            <a:avLst/>
          </a:prstGeom>
          <a:solidFill>
            <a:srgbClr val="FFCC00"/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9" name="Rounded Rectangle 51"/>
          <p:cNvSpPr/>
          <p:nvPr/>
        </p:nvSpPr>
        <p:spPr bwMode="auto">
          <a:xfrm>
            <a:off x="2108202" y="2519751"/>
            <a:ext cx="368300" cy="276225"/>
          </a:xfrm>
          <a:prstGeom prst="roundRect">
            <a:avLst/>
          </a:prstGeom>
          <a:solidFill>
            <a:srgbClr val="FFCCFF"/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Rounded Rectangle 52"/>
          <p:cNvSpPr/>
          <p:nvPr/>
        </p:nvSpPr>
        <p:spPr bwMode="auto">
          <a:xfrm>
            <a:off x="2546351" y="2519751"/>
            <a:ext cx="368300" cy="27622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1" name="Rounded Rectangle 53"/>
          <p:cNvSpPr/>
          <p:nvPr/>
        </p:nvSpPr>
        <p:spPr bwMode="auto">
          <a:xfrm>
            <a:off x="2997199" y="2519750"/>
            <a:ext cx="368300" cy="2762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ounded Rectangle 54"/>
          <p:cNvSpPr/>
          <p:nvPr/>
        </p:nvSpPr>
        <p:spPr bwMode="auto">
          <a:xfrm>
            <a:off x="2108202" y="2851668"/>
            <a:ext cx="368300" cy="276225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3" name="Rounded Rectangle 55"/>
          <p:cNvSpPr/>
          <p:nvPr/>
        </p:nvSpPr>
        <p:spPr bwMode="auto">
          <a:xfrm>
            <a:off x="2546351" y="2851668"/>
            <a:ext cx="368300" cy="276225"/>
          </a:xfrm>
          <a:prstGeom prst="roundRect">
            <a:avLst/>
          </a:prstGeom>
          <a:solidFill>
            <a:srgbClr val="D7D200"/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ounded Rectangle 56"/>
          <p:cNvSpPr/>
          <p:nvPr/>
        </p:nvSpPr>
        <p:spPr bwMode="auto">
          <a:xfrm>
            <a:off x="2997199" y="2851667"/>
            <a:ext cx="368300" cy="27622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5" name="Rounded Rectangle 57"/>
          <p:cNvSpPr/>
          <p:nvPr/>
        </p:nvSpPr>
        <p:spPr bwMode="auto">
          <a:xfrm>
            <a:off x="2108202" y="1524000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6" name="Rounded Rectangle 58"/>
          <p:cNvSpPr/>
          <p:nvPr/>
        </p:nvSpPr>
        <p:spPr bwMode="auto">
          <a:xfrm>
            <a:off x="2546351" y="1524000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7" name="Rounded Rectangle 59"/>
          <p:cNvSpPr/>
          <p:nvPr/>
        </p:nvSpPr>
        <p:spPr bwMode="auto">
          <a:xfrm>
            <a:off x="2997199" y="152399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8" name="Group 14"/>
          <p:cNvGrpSpPr/>
          <p:nvPr/>
        </p:nvGrpSpPr>
        <p:grpSpPr>
          <a:xfrm>
            <a:off x="5710241" y="1984504"/>
            <a:ext cx="5299135" cy="722529"/>
            <a:chOff x="4293393" y="1994029"/>
            <a:chExt cx="3702840" cy="722529"/>
          </a:xfrm>
        </p:grpSpPr>
        <p:sp>
          <p:nvSpPr>
            <p:cNvPr id="49" name="Rectangle 84"/>
            <p:cNvSpPr/>
            <p:nvPr/>
          </p:nvSpPr>
          <p:spPr>
            <a:xfrm>
              <a:off x="4624383" y="2070227"/>
              <a:ext cx="33718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800" dirty="0">
                  <a:solidFill>
                    <a:srgbClr val="FF99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(“replication factor”</a:t>
              </a:r>
              <a:r>
                <a:rPr lang="ko-KR" altLang="en-US" sz="1800">
                  <a:solidFill>
                    <a:srgbClr val="FF99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에 기반</a:t>
              </a:r>
              <a:r>
                <a:rPr lang="en-US" sz="1800" dirty="0">
                  <a:solidFill>
                    <a:srgbClr val="FF99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 (</a:t>
              </a:r>
              <a:r>
                <a:rPr lang="ko-KR" altLang="en-US" sz="1800">
                  <a:solidFill>
                    <a:srgbClr val="FF99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기본으로 </a:t>
              </a:r>
              <a:r>
                <a:rPr lang="en-US" sz="1800" dirty="0">
                  <a:solidFill>
                    <a:srgbClr val="FF99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3 </a:t>
              </a:r>
              <a:r>
                <a:rPr lang="ko-KR" altLang="en-US" sz="1800">
                  <a:solidFill>
                    <a:srgbClr val="FF99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군데</a:t>
              </a:r>
              <a:r>
                <a:rPr lang="en-US" sz="1800" dirty="0">
                  <a:solidFill>
                    <a:srgbClr val="FF99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</a:t>
              </a:r>
            </a:p>
          </p:txBody>
        </p:sp>
        <p:cxnSp>
          <p:nvCxnSpPr>
            <p:cNvPr id="50" name="Straight Arrow Connector 8"/>
            <p:cNvCxnSpPr/>
            <p:nvPr/>
          </p:nvCxnSpPr>
          <p:spPr bwMode="auto">
            <a:xfrm flipH="1" flipV="1">
              <a:off x="4293393" y="1994029"/>
              <a:ext cx="378262" cy="237052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triangle" w="med" len="lg"/>
            </a:ln>
            <a:effectLst/>
          </p:spPr>
        </p:cxnSp>
      </p:grpSp>
      <p:sp>
        <p:nvSpPr>
          <p:cNvPr id="51" name="Right Arrow 42"/>
          <p:cNvSpPr/>
          <p:nvPr/>
        </p:nvSpPr>
        <p:spPr bwMode="auto">
          <a:xfrm>
            <a:off x="1608881" y="2221556"/>
            <a:ext cx="448521" cy="204402"/>
          </a:xfrm>
          <a:prstGeom prst="rightArrow">
            <a:avLst/>
          </a:prstGeom>
          <a:solidFill>
            <a:srgbClr val="FF9900"/>
          </a:solidFill>
          <a:ln w="12700">
            <a:solidFill>
              <a:srgbClr val="FF9900"/>
            </a:solidFill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52" name="Group 7"/>
          <p:cNvGrpSpPr/>
          <p:nvPr/>
        </p:nvGrpSpPr>
        <p:grpSpPr>
          <a:xfrm>
            <a:off x="1117599" y="1800225"/>
            <a:ext cx="5124447" cy="3671885"/>
            <a:chOff x="838199" y="1800224"/>
            <a:chExt cx="3843335" cy="3671885"/>
          </a:xfrm>
        </p:grpSpPr>
        <p:cxnSp>
          <p:nvCxnSpPr>
            <p:cNvPr id="53" name="Straight Connector 62"/>
            <p:cNvCxnSpPr>
              <a:stCxn id="45" idx="2"/>
            </p:cNvCxnSpPr>
            <p:nvPr/>
          </p:nvCxnSpPr>
          <p:spPr bwMode="auto">
            <a:xfrm flipH="1">
              <a:off x="838199" y="1800224"/>
              <a:ext cx="881065" cy="3657600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4" name="Straight Connector 63"/>
            <p:cNvCxnSpPr>
              <a:stCxn id="45" idx="2"/>
            </p:cNvCxnSpPr>
            <p:nvPr/>
          </p:nvCxnSpPr>
          <p:spPr bwMode="auto">
            <a:xfrm>
              <a:off x="1719264" y="1800224"/>
              <a:ext cx="666747" cy="3671885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5" name="Straight Connector 64"/>
            <p:cNvCxnSpPr>
              <a:stCxn id="45" idx="2"/>
              <a:endCxn id="14" idx="0"/>
            </p:cNvCxnSpPr>
            <p:nvPr/>
          </p:nvCxnSpPr>
          <p:spPr bwMode="auto">
            <a:xfrm>
              <a:off x="1719264" y="1800224"/>
              <a:ext cx="2962270" cy="3671883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56" name="TextBox 55"/>
          <p:cNvSpPr txBox="1"/>
          <p:nvPr/>
        </p:nvSpPr>
        <p:spPr>
          <a:xfrm>
            <a:off x="1189450" y="3571190"/>
            <a:ext cx="3274599" cy="646331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atinLnBrk="0"/>
            <a:r>
              <a:rPr lang="ko-KR" altLang="en-US" sz="18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클라이언트는 할당된 데이터 </a:t>
            </a:r>
            <a:r>
              <a:rPr lang="ko-KR" altLang="en-US" sz="18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노드로</a:t>
            </a:r>
            <a:r>
              <a:rPr lang="ko-KR" altLang="en-US" sz="18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블록을 직접 전달</a:t>
            </a:r>
            <a:endParaRPr lang="en-US" sz="18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978549" y="1699214"/>
            <a:ext cx="2085827" cy="3231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{node2, node4, node 5}</a:t>
            </a:r>
          </a:p>
        </p:txBody>
      </p:sp>
      <p:grpSp>
        <p:nvGrpSpPr>
          <p:cNvPr id="58" name="Group 9"/>
          <p:cNvGrpSpPr/>
          <p:nvPr/>
        </p:nvGrpSpPr>
        <p:grpSpPr>
          <a:xfrm>
            <a:off x="1562101" y="1800225"/>
            <a:ext cx="7994644" cy="3686171"/>
            <a:chOff x="1171575" y="1800224"/>
            <a:chExt cx="5995983" cy="3686171"/>
          </a:xfrm>
        </p:grpSpPr>
        <p:cxnSp>
          <p:nvCxnSpPr>
            <p:cNvPr id="59" name="Straight Connector 70"/>
            <p:cNvCxnSpPr>
              <a:stCxn id="46" idx="2"/>
            </p:cNvCxnSpPr>
            <p:nvPr/>
          </p:nvCxnSpPr>
          <p:spPr bwMode="auto">
            <a:xfrm flipH="1">
              <a:off x="1171575" y="1800224"/>
              <a:ext cx="876301" cy="3671884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0" name="Straight Connector 72"/>
            <p:cNvCxnSpPr>
              <a:stCxn id="46" idx="2"/>
            </p:cNvCxnSpPr>
            <p:nvPr/>
          </p:nvCxnSpPr>
          <p:spPr bwMode="auto">
            <a:xfrm>
              <a:off x="2047876" y="1800224"/>
              <a:ext cx="1901457" cy="3686171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1" name="Straight Connector 73"/>
            <p:cNvCxnSpPr>
              <a:stCxn id="46" idx="2"/>
            </p:cNvCxnSpPr>
            <p:nvPr/>
          </p:nvCxnSpPr>
          <p:spPr bwMode="auto">
            <a:xfrm>
              <a:off x="2047876" y="1800224"/>
              <a:ext cx="5119682" cy="3671883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62" name="TextBox 61"/>
          <p:cNvSpPr txBox="1"/>
          <p:nvPr/>
        </p:nvSpPr>
        <p:spPr>
          <a:xfrm>
            <a:off x="4995380" y="1700554"/>
            <a:ext cx="2052164" cy="3231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{node1, node3, node 5}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962704" y="1699556"/>
            <a:ext cx="2085827" cy="3231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{node2, node3, node 4}</a:t>
            </a:r>
          </a:p>
        </p:txBody>
      </p:sp>
      <p:grpSp>
        <p:nvGrpSpPr>
          <p:cNvPr id="64" name="Group 12"/>
          <p:cNvGrpSpPr/>
          <p:nvPr/>
        </p:nvGrpSpPr>
        <p:grpSpPr>
          <a:xfrm>
            <a:off x="3181349" y="1800223"/>
            <a:ext cx="6851648" cy="3686172"/>
            <a:chOff x="2386012" y="1800223"/>
            <a:chExt cx="5138736" cy="3686172"/>
          </a:xfrm>
        </p:grpSpPr>
        <p:cxnSp>
          <p:nvCxnSpPr>
            <p:cNvPr id="65" name="Straight Connector 82"/>
            <p:cNvCxnSpPr>
              <a:stCxn id="47" idx="2"/>
              <a:endCxn id="10" idx="0"/>
            </p:cNvCxnSpPr>
            <p:nvPr/>
          </p:nvCxnSpPr>
          <p:spPr bwMode="auto">
            <a:xfrm>
              <a:off x="2386012" y="1800223"/>
              <a:ext cx="704847" cy="3671884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6" name="Straight Connector 85"/>
            <p:cNvCxnSpPr>
              <a:stCxn id="47" idx="2"/>
            </p:cNvCxnSpPr>
            <p:nvPr/>
          </p:nvCxnSpPr>
          <p:spPr bwMode="auto">
            <a:xfrm>
              <a:off x="2386012" y="1800223"/>
              <a:ext cx="3178887" cy="3686172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7" name="Straight Connector 86"/>
            <p:cNvCxnSpPr>
              <a:stCxn id="47" idx="2"/>
              <a:endCxn id="20" idx="0"/>
            </p:cNvCxnSpPr>
            <p:nvPr/>
          </p:nvCxnSpPr>
          <p:spPr bwMode="auto">
            <a:xfrm>
              <a:off x="2386012" y="1800223"/>
              <a:ext cx="5138736" cy="3671885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68" name="TextBox 67"/>
          <p:cNvSpPr txBox="1"/>
          <p:nvPr/>
        </p:nvSpPr>
        <p:spPr>
          <a:xfrm>
            <a:off x="2292352" y="4423545"/>
            <a:ext cx="800219" cy="369332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ko-KR" altLang="en-US" sz="18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등등</a:t>
            </a:r>
            <a:r>
              <a:rPr lang="en-US" sz="18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</p:txBody>
      </p:sp>
      <p:grpSp>
        <p:nvGrpSpPr>
          <p:cNvPr id="69" name="Group 80"/>
          <p:cNvGrpSpPr/>
          <p:nvPr/>
        </p:nvGrpSpPr>
        <p:grpSpPr>
          <a:xfrm>
            <a:off x="2282825" y="2137711"/>
            <a:ext cx="5629272" cy="3334397"/>
            <a:chOff x="1719264" y="1800224"/>
            <a:chExt cx="4221954" cy="3334397"/>
          </a:xfrm>
        </p:grpSpPr>
        <p:cxnSp>
          <p:nvCxnSpPr>
            <p:cNvPr id="70" name="Straight Connector 113"/>
            <p:cNvCxnSpPr>
              <a:endCxn id="9" idx="0"/>
            </p:cNvCxnSpPr>
            <p:nvPr/>
          </p:nvCxnSpPr>
          <p:spPr bwMode="auto">
            <a:xfrm>
              <a:off x="1719265" y="1800224"/>
              <a:ext cx="1040603" cy="3334397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1" name="Straight Connector 114"/>
            <p:cNvCxnSpPr>
              <a:endCxn id="13" idx="0"/>
            </p:cNvCxnSpPr>
            <p:nvPr/>
          </p:nvCxnSpPr>
          <p:spPr bwMode="auto">
            <a:xfrm>
              <a:off x="1719264" y="1800224"/>
              <a:ext cx="2631279" cy="3334397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72" name="Straight Connector 115"/>
            <p:cNvCxnSpPr>
              <a:endCxn id="17" idx="0"/>
            </p:cNvCxnSpPr>
            <p:nvPr/>
          </p:nvCxnSpPr>
          <p:spPr bwMode="auto">
            <a:xfrm>
              <a:off x="1719264" y="1800224"/>
              <a:ext cx="4221954" cy="3334397"/>
            </a:xfrm>
            <a:prstGeom prst="line">
              <a:avLst/>
            </a:prstGeom>
            <a:ln>
              <a:solidFill>
                <a:srgbClr val="A50021"/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73" name="Rectangle 74"/>
          <p:cNvSpPr/>
          <p:nvPr/>
        </p:nvSpPr>
        <p:spPr>
          <a:xfrm>
            <a:off x="5960672" y="3017080"/>
            <a:ext cx="6475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네임 </a:t>
            </a:r>
            <a:r>
              <a:rPr lang="ko-KR" altLang="en-US" sz="1800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노드는</a:t>
            </a:r>
            <a:r>
              <a:rPr lang="ko-KR" altLang="en-US" sz="1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 파일의 각 블록을 저장하는 </a:t>
            </a:r>
            <a:r>
              <a:rPr lang="ko-KR" altLang="en-US" sz="1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클라이언트를 알려줌</a:t>
            </a:r>
            <a:endParaRPr lang="en-US" sz="1800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69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53" presetClass="entr" presetSubtype="16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25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2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12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animClr clrSpc="hsl" dir="cw">
                                      <p:cBhvr>
                                        <p:cTn id="12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70588" l="0"/>
                                      </p:by>
                                    </p:animClr>
                                    <p:set>
                                      <p:cBhvr>
                                        <p:cTn id="1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8" fill="hold">
                      <p:stCondLst>
                        <p:cond delay="indefinite"/>
                      </p:stCondLst>
                      <p:childTnLst>
                        <p:par>
                          <p:cTn id="199" fill="hold">
                            <p:stCondLst>
                              <p:cond delay="0"/>
                            </p:stCondLst>
                            <p:childTnLst>
                              <p:par>
                                <p:cTn id="20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6" grpId="0" animBg="1"/>
      <p:bldP spid="17" grpId="0" animBg="1"/>
      <p:bldP spid="19" grpId="0" animBg="1"/>
      <p:bldP spid="20" grpId="0" animBg="1"/>
      <p:bldP spid="29" grpId="0" animBg="1"/>
      <p:bldP spid="32" grpId="0"/>
      <p:bldP spid="32" grpId="1"/>
      <p:bldP spid="33" grpId="0" animBg="1"/>
      <p:bldP spid="33" grpId="1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51" grpId="0" animBg="1"/>
      <p:bldP spid="56" grpId="0" animBg="1"/>
      <p:bldP spid="56" grpId="1" animBg="1"/>
      <p:bldP spid="57" grpId="0"/>
      <p:bldP spid="57" grpId="1"/>
      <p:bldP spid="62" grpId="0"/>
      <p:bldP spid="62" grpId="1"/>
      <p:bldP spid="63" grpId="0"/>
      <p:bldP spid="63" grpId="1"/>
      <p:bldP spid="68" grpId="0" animBg="1"/>
      <p:bldP spid="7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DFS</a:t>
            </a:r>
            <a:r>
              <a:rPr lang="ko-KR" altLang="en-US"/>
              <a:t>에서 파일 가져오기</a:t>
            </a:r>
          </a:p>
        </p:txBody>
      </p:sp>
      <p:sp>
        <p:nvSpPr>
          <p:cNvPr id="72" name="Rounded Rectangle 4"/>
          <p:cNvSpPr/>
          <p:nvPr/>
        </p:nvSpPr>
        <p:spPr bwMode="auto">
          <a:xfrm>
            <a:off x="6661144" y="3409267"/>
            <a:ext cx="2209800" cy="628651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3" name="Rounded Rectangle 5"/>
          <p:cNvSpPr/>
          <p:nvPr/>
        </p:nvSpPr>
        <p:spPr bwMode="auto">
          <a:xfrm>
            <a:off x="9556744" y="3504516"/>
            <a:ext cx="2209800" cy="43815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1003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ackup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74" name="Straight Connector 11"/>
          <p:cNvCxnSpPr>
            <a:stCxn id="72" idx="3"/>
            <a:endCxn id="73" idx="1"/>
          </p:cNvCxnSpPr>
          <p:nvPr/>
        </p:nvCxnSpPr>
        <p:spPr bwMode="auto">
          <a:xfrm flipV="1">
            <a:off x="8870944" y="3723592"/>
            <a:ext cx="685800" cy="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lg" len="lg"/>
            <a:tailEnd type="triangle" w="lg" len="lg"/>
          </a:ln>
          <a:effectLst/>
        </p:spPr>
      </p:cxnSp>
      <p:cxnSp>
        <p:nvCxnSpPr>
          <p:cNvPr id="75" name="Straight Connector 12"/>
          <p:cNvCxnSpPr>
            <a:stCxn id="72" idx="2"/>
            <a:endCxn id="101" idx="0"/>
          </p:cNvCxnSpPr>
          <p:nvPr/>
        </p:nvCxnSpPr>
        <p:spPr bwMode="auto">
          <a:xfrm flipH="1">
            <a:off x="1549398" y="4037917"/>
            <a:ext cx="6216647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76" name="Straight Connector 13"/>
          <p:cNvCxnSpPr>
            <a:stCxn id="72" idx="2"/>
            <a:endCxn id="106" idx="0"/>
          </p:cNvCxnSpPr>
          <p:nvPr/>
        </p:nvCxnSpPr>
        <p:spPr bwMode="auto">
          <a:xfrm flipH="1">
            <a:off x="3670297" y="4037917"/>
            <a:ext cx="4095747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77" name="Straight Connector 14"/>
          <p:cNvCxnSpPr>
            <a:stCxn id="72" idx="2"/>
            <a:endCxn id="111" idx="0"/>
          </p:cNvCxnSpPr>
          <p:nvPr/>
        </p:nvCxnSpPr>
        <p:spPr bwMode="auto">
          <a:xfrm flipH="1">
            <a:off x="5791198" y="4037917"/>
            <a:ext cx="1974847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78" name="Straight Connector 15"/>
          <p:cNvCxnSpPr>
            <a:stCxn id="72" idx="2"/>
            <a:endCxn id="116" idx="0"/>
          </p:cNvCxnSpPr>
          <p:nvPr/>
        </p:nvCxnSpPr>
        <p:spPr bwMode="auto">
          <a:xfrm>
            <a:off x="7766044" y="4037917"/>
            <a:ext cx="146053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79" name="Straight Connector 16"/>
          <p:cNvCxnSpPr>
            <a:stCxn id="72" idx="2"/>
            <a:endCxn id="121" idx="0"/>
          </p:cNvCxnSpPr>
          <p:nvPr/>
        </p:nvCxnSpPr>
        <p:spPr bwMode="auto">
          <a:xfrm>
            <a:off x="7766045" y="4037917"/>
            <a:ext cx="2266953" cy="94365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sp>
        <p:nvSpPr>
          <p:cNvPr id="80" name="Folded Corner 17"/>
          <p:cNvSpPr/>
          <p:nvPr/>
        </p:nvSpPr>
        <p:spPr bwMode="auto">
          <a:xfrm>
            <a:off x="177797" y="1523999"/>
            <a:ext cx="1371600" cy="1651518"/>
          </a:xfrm>
          <a:prstGeom prst="foldedCorner">
            <a:avLst/>
          </a:prstGeom>
          <a:solidFill>
            <a:srgbClr val="FFFF93"/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Giant File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00101010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10100101010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11001010100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010100101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01100101010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10101001010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00110010101</a:t>
            </a:r>
          </a:p>
          <a:p>
            <a:pPr algn="ctr"/>
            <a:r>
              <a:rPr lang="en-US" sz="1000" b="0" dirty="0">
                <a:solidFill>
                  <a:srgbClr val="01020B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001010100101</a:t>
            </a:r>
          </a:p>
        </p:txBody>
      </p:sp>
      <p:sp>
        <p:nvSpPr>
          <p:cNvPr id="81" name="Rounded Rectangle 18"/>
          <p:cNvSpPr/>
          <p:nvPr/>
        </p:nvSpPr>
        <p:spPr bwMode="auto">
          <a:xfrm>
            <a:off x="3581400" y="2106095"/>
            <a:ext cx="1333499" cy="715927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HDFS</a:t>
            </a:r>
          </a:p>
          <a:p>
            <a:pPr algn="ctr"/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lient</a:t>
            </a:r>
            <a:endParaRPr kumimoji="0" lang="en-US" sz="18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82" name="Straight Connector 19"/>
          <p:cNvCxnSpPr>
            <a:stCxn id="81" idx="3"/>
            <a:endCxn id="72" idx="1"/>
          </p:cNvCxnSpPr>
          <p:nvPr/>
        </p:nvCxnSpPr>
        <p:spPr bwMode="auto">
          <a:xfrm>
            <a:off x="4914899" y="2464058"/>
            <a:ext cx="1746245" cy="1259534"/>
          </a:xfrm>
          <a:prstGeom prst="line">
            <a:avLst/>
          </a:prstGeom>
          <a:ln>
            <a:solidFill>
              <a:srgbClr val="A50021"/>
            </a:solidFill>
            <a:headEnd type="triangl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6539226" y="2574668"/>
            <a:ext cx="1674106" cy="55399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latinLnBrk="0"/>
            <a:r>
              <a:rPr lang="ko-KR" altLang="en-US" sz="15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파일 블록들의 위치를 반환</a:t>
            </a:r>
            <a:endParaRPr lang="en-US" sz="15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4" name="Rounded Rectangle 21"/>
          <p:cNvSpPr/>
          <p:nvPr/>
        </p:nvSpPr>
        <p:spPr bwMode="auto">
          <a:xfrm>
            <a:off x="2108202" y="1855917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5" name="Rounded Rectangle 22"/>
          <p:cNvSpPr/>
          <p:nvPr/>
        </p:nvSpPr>
        <p:spPr bwMode="auto">
          <a:xfrm>
            <a:off x="2546351" y="1855917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6" name="Rounded Rectangle 23"/>
          <p:cNvSpPr/>
          <p:nvPr/>
        </p:nvSpPr>
        <p:spPr bwMode="auto">
          <a:xfrm>
            <a:off x="2997199" y="1855916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7" name="Rounded Rectangle 24"/>
          <p:cNvSpPr/>
          <p:nvPr/>
        </p:nvSpPr>
        <p:spPr bwMode="auto">
          <a:xfrm>
            <a:off x="2108202" y="2187834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8" name="Rounded Rectangle 25"/>
          <p:cNvSpPr/>
          <p:nvPr/>
        </p:nvSpPr>
        <p:spPr bwMode="auto">
          <a:xfrm>
            <a:off x="2546351" y="2187834"/>
            <a:ext cx="368300" cy="276225"/>
          </a:xfrm>
          <a:prstGeom prst="roundRect">
            <a:avLst/>
          </a:prstGeom>
          <a:solidFill>
            <a:srgbClr val="FFFF93"/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9" name="Rounded Rectangle 26"/>
          <p:cNvSpPr/>
          <p:nvPr/>
        </p:nvSpPr>
        <p:spPr bwMode="auto">
          <a:xfrm>
            <a:off x="2997199" y="2187833"/>
            <a:ext cx="368300" cy="276225"/>
          </a:xfrm>
          <a:prstGeom prst="roundRect">
            <a:avLst/>
          </a:prstGeom>
          <a:solidFill>
            <a:srgbClr val="FFCC00"/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0" name="Rounded Rectangle 27"/>
          <p:cNvSpPr/>
          <p:nvPr/>
        </p:nvSpPr>
        <p:spPr bwMode="auto">
          <a:xfrm>
            <a:off x="2108202" y="2519751"/>
            <a:ext cx="368300" cy="276225"/>
          </a:xfrm>
          <a:prstGeom prst="roundRect">
            <a:avLst/>
          </a:prstGeom>
          <a:solidFill>
            <a:srgbClr val="FFCCFF"/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1" name="Rounded Rectangle 28"/>
          <p:cNvSpPr/>
          <p:nvPr/>
        </p:nvSpPr>
        <p:spPr bwMode="auto">
          <a:xfrm>
            <a:off x="2546351" y="2519751"/>
            <a:ext cx="368300" cy="27622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2" name="Rounded Rectangle 29"/>
          <p:cNvSpPr/>
          <p:nvPr/>
        </p:nvSpPr>
        <p:spPr bwMode="auto">
          <a:xfrm>
            <a:off x="2997199" y="2519750"/>
            <a:ext cx="368300" cy="2762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3" name="Rounded Rectangle 30"/>
          <p:cNvSpPr/>
          <p:nvPr/>
        </p:nvSpPr>
        <p:spPr bwMode="auto">
          <a:xfrm>
            <a:off x="2108202" y="2851668"/>
            <a:ext cx="368300" cy="276225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4" name="Rounded Rectangle 31"/>
          <p:cNvSpPr/>
          <p:nvPr/>
        </p:nvSpPr>
        <p:spPr bwMode="auto">
          <a:xfrm>
            <a:off x="2546351" y="2851668"/>
            <a:ext cx="368300" cy="276225"/>
          </a:xfrm>
          <a:prstGeom prst="roundRect">
            <a:avLst/>
          </a:prstGeom>
          <a:solidFill>
            <a:srgbClr val="D7D200"/>
          </a:solidFill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5" name="Rounded Rectangle 32"/>
          <p:cNvSpPr/>
          <p:nvPr/>
        </p:nvSpPr>
        <p:spPr bwMode="auto">
          <a:xfrm>
            <a:off x="2997199" y="2851667"/>
            <a:ext cx="368300" cy="27622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6" name="Rounded Rectangle 33"/>
          <p:cNvSpPr/>
          <p:nvPr/>
        </p:nvSpPr>
        <p:spPr bwMode="auto">
          <a:xfrm>
            <a:off x="2108202" y="1524000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7" name="Rounded Rectangle 34"/>
          <p:cNvSpPr/>
          <p:nvPr/>
        </p:nvSpPr>
        <p:spPr bwMode="auto">
          <a:xfrm>
            <a:off x="2546351" y="1524000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8" name="Rounded Rectangle 35"/>
          <p:cNvSpPr/>
          <p:nvPr/>
        </p:nvSpPr>
        <p:spPr bwMode="auto">
          <a:xfrm>
            <a:off x="2997199" y="1523999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9" name="Right Arrow 38"/>
          <p:cNvSpPr/>
          <p:nvPr/>
        </p:nvSpPr>
        <p:spPr bwMode="auto">
          <a:xfrm flipH="1">
            <a:off x="1608879" y="2221556"/>
            <a:ext cx="391364" cy="204402"/>
          </a:xfrm>
          <a:prstGeom prst="rightArrow">
            <a:avLst/>
          </a:prstGeom>
          <a:solidFill>
            <a:srgbClr val="FF9900"/>
          </a:solidFill>
          <a:ln w="12700">
            <a:solidFill>
              <a:srgbClr val="FF9900"/>
            </a:solidFill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00" name="Group 61"/>
          <p:cNvGrpSpPr/>
          <p:nvPr/>
        </p:nvGrpSpPr>
        <p:grpSpPr>
          <a:xfrm>
            <a:off x="660397" y="4981572"/>
            <a:ext cx="1778001" cy="904875"/>
            <a:chOff x="876299" y="4552950"/>
            <a:chExt cx="1333501" cy="904875"/>
          </a:xfrm>
        </p:grpSpPr>
        <p:sp>
          <p:nvSpPr>
            <p:cNvPr id="101" name="Rounded Rectangle 6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2" name="Rounded Rectangle 6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3" name="Rounded Rectangle 6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Rounded Rectangle 6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05" name="Group 66"/>
          <p:cNvGrpSpPr/>
          <p:nvPr/>
        </p:nvGrpSpPr>
        <p:grpSpPr>
          <a:xfrm>
            <a:off x="2781297" y="4981572"/>
            <a:ext cx="1778001" cy="904875"/>
            <a:chOff x="876299" y="4552950"/>
            <a:chExt cx="1333501" cy="904875"/>
          </a:xfrm>
        </p:grpSpPr>
        <p:sp>
          <p:nvSpPr>
            <p:cNvPr id="106" name="Rounded Rectangle 67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7" name="Rounded Rectangle 68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8" name="Rounded Rectangle 69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9" name="Rounded Rectangle 70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0" name="Group 71"/>
          <p:cNvGrpSpPr/>
          <p:nvPr/>
        </p:nvGrpSpPr>
        <p:grpSpPr>
          <a:xfrm>
            <a:off x="4902197" y="4981572"/>
            <a:ext cx="1778001" cy="904875"/>
            <a:chOff x="876299" y="4552950"/>
            <a:chExt cx="1333501" cy="904875"/>
          </a:xfrm>
        </p:grpSpPr>
        <p:sp>
          <p:nvSpPr>
            <p:cNvPr id="111" name="Rounded Rectangle 7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Rounded Rectangle 7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3" name="Rounded Rectangle 7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4" name="Rounded Rectangle 7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5" name="Group 76"/>
          <p:cNvGrpSpPr/>
          <p:nvPr/>
        </p:nvGrpSpPr>
        <p:grpSpPr>
          <a:xfrm>
            <a:off x="7023097" y="4981572"/>
            <a:ext cx="1778001" cy="904875"/>
            <a:chOff x="876299" y="4552950"/>
            <a:chExt cx="1333501" cy="904875"/>
          </a:xfrm>
        </p:grpSpPr>
        <p:sp>
          <p:nvSpPr>
            <p:cNvPr id="116" name="Rounded Rectangle 77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7" name="Rounded Rectangle 78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8" name="Rounded Rectangle 79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9" name="Rounded Rectangle 80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20" name="Group 81"/>
          <p:cNvGrpSpPr/>
          <p:nvPr/>
        </p:nvGrpSpPr>
        <p:grpSpPr>
          <a:xfrm>
            <a:off x="9143997" y="4981572"/>
            <a:ext cx="1778001" cy="904875"/>
            <a:chOff x="876299" y="4552950"/>
            <a:chExt cx="1333501" cy="904875"/>
          </a:xfrm>
        </p:grpSpPr>
        <p:sp>
          <p:nvSpPr>
            <p:cNvPr id="121" name="Rounded Rectangle 8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Rounded Rectangle 8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3" name="Rounded Rectangle 8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4" name="Rounded Rectangle 8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5" name="Right Arrow 91"/>
          <p:cNvSpPr/>
          <p:nvPr/>
        </p:nvSpPr>
        <p:spPr bwMode="auto">
          <a:xfrm rot="6745695" flipH="1">
            <a:off x="1428348" y="3984235"/>
            <a:ext cx="1415710" cy="318188"/>
          </a:xfrm>
          <a:prstGeom prst="rightArrow">
            <a:avLst/>
          </a:prstGeom>
          <a:solidFill>
            <a:srgbClr val="FF9900">
              <a:alpha val="40000"/>
            </a:srgbClr>
          </a:solidFill>
          <a:ln w="12700">
            <a:solidFill>
              <a:srgbClr val="FF9900"/>
            </a:solidFill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6" name="Right Arrow 92"/>
          <p:cNvSpPr/>
          <p:nvPr/>
        </p:nvSpPr>
        <p:spPr bwMode="auto">
          <a:xfrm rot="4399997" flipH="1">
            <a:off x="2657644" y="3996739"/>
            <a:ext cx="1415710" cy="318188"/>
          </a:xfrm>
          <a:prstGeom prst="rightArrow">
            <a:avLst/>
          </a:prstGeom>
          <a:solidFill>
            <a:srgbClr val="FF9900">
              <a:alpha val="40000"/>
            </a:srgbClr>
          </a:solidFill>
          <a:ln w="12700">
            <a:solidFill>
              <a:srgbClr val="FF9900"/>
            </a:solidFill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Right Arrow 93"/>
          <p:cNvSpPr/>
          <p:nvPr/>
        </p:nvSpPr>
        <p:spPr bwMode="auto">
          <a:xfrm rot="2515154" flipH="1">
            <a:off x="3411719" y="4040402"/>
            <a:ext cx="2754003" cy="238641"/>
          </a:xfrm>
          <a:prstGeom prst="rightArrow">
            <a:avLst/>
          </a:prstGeom>
          <a:solidFill>
            <a:srgbClr val="FF9900">
              <a:alpha val="40000"/>
            </a:srgbClr>
          </a:solidFill>
          <a:ln w="12700">
            <a:solidFill>
              <a:srgbClr val="FF9900"/>
            </a:solidFill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hardEdge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993073" y="3962059"/>
            <a:ext cx="3217547" cy="400110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ko-KR" alt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데이터 </a:t>
            </a:r>
            <a:r>
              <a:rPr lang="ko-KR" altLang="en-US" sz="20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노드의</a:t>
            </a:r>
            <a:r>
              <a:rPr lang="ko-KR" alt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20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스트림</a:t>
            </a:r>
            <a:r>
              <a:rPr lang="ko-KR" alt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블록</a:t>
            </a:r>
            <a:endParaRPr lang="en-US" sz="20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593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2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2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700"/>
                            </p:stCondLst>
                            <p:childTnLst>
                              <p:par>
                                <p:cTn id="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2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2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900"/>
                            </p:stCondLst>
                            <p:childTnLst>
                              <p:par>
                                <p:cTn id="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2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2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100"/>
                            </p:stCondLst>
                            <p:childTnLst>
                              <p:par>
                                <p:cTn id="4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2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2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2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300"/>
                            </p:stCondLst>
                            <p:childTnLst>
                              <p:par>
                                <p:cTn id="5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2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2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500"/>
                            </p:stCondLst>
                            <p:childTnLst>
                              <p:par>
                                <p:cTn id="5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2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2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2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700"/>
                            </p:stCondLst>
                            <p:childTnLst>
                              <p:par>
                                <p:cTn id="6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2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2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2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900"/>
                            </p:stCondLst>
                            <p:childTnLst>
                              <p:par>
                                <p:cTn id="6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2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2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2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100"/>
                            </p:stCondLst>
                            <p:childTnLst>
                              <p:par>
                                <p:cTn id="7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2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2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2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300"/>
                            </p:stCondLst>
                            <p:childTnLst>
                              <p:par>
                                <p:cTn id="8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2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2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2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500"/>
                            </p:stCondLst>
                            <p:childTnLst>
                              <p:par>
                                <p:cTn id="8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2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2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2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2700"/>
                            </p:stCondLst>
                            <p:childTnLst>
                              <p:par>
                                <p:cTn id="9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2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2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2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2900"/>
                            </p:stCondLst>
                            <p:childTnLst>
                              <p:par>
                                <p:cTn id="9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2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2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2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3100"/>
                            </p:stCondLst>
                            <p:childTnLst>
                              <p:par>
                                <p:cTn id="10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2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2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2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3300"/>
                            </p:stCondLst>
                            <p:childTnLst>
                              <p:par>
                                <p:cTn id="11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2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2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2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3500"/>
                            </p:stCondLst>
                            <p:childTnLst>
                              <p:par>
                                <p:cTn id="1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  <p:bldP spid="83" grpId="0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25" grpId="0" animBg="1"/>
      <p:bldP spid="126" grpId="0" animBg="1"/>
      <p:bldP spid="127" grpId="0" animBg="1"/>
      <p:bldP spid="12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Failures, Failures, Failures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altLang="ko-KR" dirty="0"/>
              <a:t>HDFS</a:t>
            </a:r>
            <a:r>
              <a:rPr lang="ko-KR" altLang="en-US"/>
              <a:t>는 </a:t>
            </a:r>
            <a:r>
              <a:rPr lang="ko-KR" altLang="en-US" b="1"/>
              <a:t>소프트웨어나 하드웨어 모두</a:t>
            </a:r>
            <a:r>
              <a:rPr lang="ko-KR" altLang="en-US"/>
              <a:t>에서 실패가 자주 발생하는 상황을 고려하여 설계됨</a:t>
            </a:r>
            <a:endParaRPr lang="en-US" altLang="ko-KR" dirty="0"/>
          </a:p>
          <a:p>
            <a:r>
              <a:rPr lang="ko-KR" altLang="en-US" sz="8000" dirty="0">
                <a:solidFill>
                  <a:schemeClr val="tx2">
                    <a:lumMod val="50000"/>
                  </a:schemeClr>
                </a:solidFill>
              </a:rPr>
              <a:t>실패 유형</a:t>
            </a:r>
            <a:r>
              <a:rPr lang="en-US" altLang="ko-KR" sz="8000" dirty="0">
                <a:solidFill>
                  <a:schemeClr val="tx2">
                    <a:lumMod val="50000"/>
                  </a:schemeClr>
                </a:solidFill>
              </a:rPr>
              <a:t>:</a:t>
            </a:r>
            <a:endParaRPr lang="en-US" altLang="ko-KR" sz="8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ko-KR" altLang="en-US" sz="2800" dirty="0">
                <a:solidFill>
                  <a:schemeClr val="tx2">
                    <a:lumMod val="50000"/>
                  </a:schemeClr>
                </a:solidFill>
              </a:rPr>
              <a:t>디스크 오류와 실패</a:t>
            </a:r>
            <a:endParaRPr lang="en-US" altLang="ko-KR" sz="2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ko-KR" altLang="en-US" sz="2800" dirty="0">
                <a:solidFill>
                  <a:schemeClr val="tx2">
                    <a:lumMod val="50000"/>
                  </a:schemeClr>
                </a:solidFill>
              </a:rPr>
              <a:t>데이터 </a:t>
            </a:r>
            <a:r>
              <a:rPr lang="ko-KR" altLang="en-US" sz="2800" dirty="0" err="1">
                <a:solidFill>
                  <a:schemeClr val="tx2">
                    <a:lumMod val="50000"/>
                  </a:schemeClr>
                </a:solidFill>
              </a:rPr>
              <a:t>노드</a:t>
            </a:r>
            <a:r>
              <a:rPr lang="ko-KR" altLang="en-US" sz="2800" dirty="0">
                <a:solidFill>
                  <a:schemeClr val="tx2">
                    <a:lumMod val="50000"/>
                  </a:schemeClr>
                </a:solidFill>
              </a:rPr>
              <a:t> 오류와 실패</a:t>
            </a:r>
            <a:endParaRPr lang="en-US" altLang="ko-KR" sz="2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ko-KR" altLang="en-US" sz="2800" dirty="0">
                <a:solidFill>
                  <a:schemeClr val="tx2">
                    <a:lumMod val="50000"/>
                  </a:schemeClr>
                </a:solidFill>
              </a:rPr>
              <a:t>스위치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/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랙 실패</a:t>
            </a:r>
            <a:endParaRPr lang="en-US" altLang="ko-KR" sz="2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ko-KR" altLang="en-US" sz="2800" dirty="0" err="1">
                <a:solidFill>
                  <a:schemeClr val="tx2">
                    <a:lumMod val="50000"/>
                  </a:schemeClr>
                </a:solidFill>
              </a:rPr>
              <a:t>네임노드</a:t>
            </a:r>
            <a:r>
              <a:rPr lang="ko-KR" altLang="en-US" sz="2800" dirty="0">
                <a:solidFill>
                  <a:schemeClr val="tx2">
                    <a:lumMod val="50000"/>
                  </a:schemeClr>
                </a:solidFill>
              </a:rPr>
              <a:t> 실패</a:t>
            </a:r>
            <a:endParaRPr lang="en-US" altLang="ko-KR" sz="2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ko-KR" altLang="en-US" sz="2800" dirty="0">
                <a:solidFill>
                  <a:schemeClr val="tx2">
                    <a:lumMod val="50000"/>
                  </a:schemeClr>
                </a:solidFill>
              </a:rPr>
              <a:t>데이터센터 실패</a:t>
            </a:r>
          </a:p>
        </p:txBody>
      </p:sp>
      <p:grpSp>
        <p:nvGrpSpPr>
          <p:cNvPr id="5" name="Group 19"/>
          <p:cNvGrpSpPr/>
          <p:nvPr/>
        </p:nvGrpSpPr>
        <p:grpSpPr>
          <a:xfrm>
            <a:off x="8816446" y="3703637"/>
            <a:ext cx="2527301" cy="1809747"/>
            <a:chOff x="6433740" y="3713161"/>
            <a:chExt cx="1895476" cy="1809747"/>
          </a:xfrm>
        </p:grpSpPr>
        <p:sp>
          <p:nvSpPr>
            <p:cNvPr id="6" name="Rounded Rectangle 5"/>
            <p:cNvSpPr/>
            <p:nvPr/>
          </p:nvSpPr>
          <p:spPr bwMode="auto">
            <a:xfrm>
              <a:off x="6586141" y="4257675"/>
              <a:ext cx="1657350" cy="628651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+mj-lt"/>
                </a:rPr>
                <a:t>Name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endParaRPr>
            </a:p>
          </p:txBody>
        </p:sp>
        <p:sp>
          <p:nvSpPr>
            <p:cNvPr id="7" name="Multiply 13"/>
            <p:cNvSpPr/>
            <p:nvPr/>
          </p:nvSpPr>
          <p:spPr bwMode="auto">
            <a:xfrm>
              <a:off x="6433740" y="3713161"/>
              <a:ext cx="1895476" cy="1809747"/>
            </a:xfrm>
            <a:prstGeom prst="mathMultiply">
              <a:avLst>
                <a:gd name="adj1" fmla="val 7772"/>
              </a:avLst>
            </a:prstGeom>
            <a:solidFill>
              <a:srgbClr val="C00000"/>
            </a:solidFill>
            <a:ln w="19050" cap="flat" cmpd="sng" algn="ctr">
              <a:solidFill>
                <a:srgbClr val="A5002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endParaRPr>
            </a:p>
          </p:txBody>
        </p:sp>
      </p:grpSp>
      <p:grpSp>
        <p:nvGrpSpPr>
          <p:cNvPr id="8" name="Group 4"/>
          <p:cNvGrpSpPr/>
          <p:nvPr/>
        </p:nvGrpSpPr>
        <p:grpSpPr>
          <a:xfrm>
            <a:off x="6905360" y="2053440"/>
            <a:ext cx="2527301" cy="1809747"/>
            <a:chOff x="5019276" y="2265363"/>
            <a:chExt cx="1895476" cy="1809747"/>
          </a:xfrm>
        </p:grpSpPr>
        <p:pic>
          <p:nvPicPr>
            <p:cNvPr id="9" name="Picture 2" descr="http://images.vistaclues.com/wp-content/uploads/2010/01/hard-disk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0" b="99760" l="214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9557" y="2616200"/>
              <a:ext cx="1246584" cy="1108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Multiply 14"/>
            <p:cNvSpPr/>
            <p:nvPr/>
          </p:nvSpPr>
          <p:spPr bwMode="auto">
            <a:xfrm>
              <a:off x="5019276" y="2265363"/>
              <a:ext cx="1895476" cy="1809747"/>
            </a:xfrm>
            <a:prstGeom prst="mathMultiply">
              <a:avLst>
                <a:gd name="adj1" fmla="val 7772"/>
              </a:avLst>
            </a:prstGeom>
            <a:solidFill>
              <a:srgbClr val="C00000"/>
            </a:solidFill>
            <a:ln w="19050" cap="flat" cmpd="sng" algn="ctr">
              <a:solidFill>
                <a:srgbClr val="A5002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endParaRPr>
            </a:p>
          </p:txBody>
        </p:sp>
      </p:grpSp>
      <p:grpSp>
        <p:nvGrpSpPr>
          <p:cNvPr id="11" name="Group 17"/>
          <p:cNvGrpSpPr/>
          <p:nvPr/>
        </p:nvGrpSpPr>
        <p:grpSpPr>
          <a:xfrm>
            <a:off x="9044515" y="2436813"/>
            <a:ext cx="2527301" cy="1809747"/>
            <a:chOff x="4661693" y="4291008"/>
            <a:chExt cx="1895476" cy="1809747"/>
          </a:xfrm>
        </p:grpSpPr>
        <p:grpSp>
          <p:nvGrpSpPr>
            <p:cNvPr id="12" name="Group 6"/>
            <p:cNvGrpSpPr/>
            <p:nvPr/>
          </p:nvGrpSpPr>
          <p:grpSpPr>
            <a:xfrm>
              <a:off x="4962128" y="4705346"/>
              <a:ext cx="1333501" cy="904875"/>
              <a:chOff x="876299" y="4552950"/>
              <a:chExt cx="1333501" cy="904875"/>
            </a:xfrm>
          </p:grpSpPr>
          <p:sp>
            <p:nvSpPr>
              <p:cNvPr id="14" name="Rounded Rectangle 7"/>
              <p:cNvSpPr/>
              <p:nvPr/>
            </p:nvSpPr>
            <p:spPr bwMode="auto">
              <a:xfrm>
                <a:off x="876299" y="4552950"/>
                <a:ext cx="1333501" cy="904875"/>
              </a:xfrm>
              <a:prstGeom prst="roundRect">
                <a:avLst/>
              </a:prstGeom>
              <a:ln>
                <a:solidFill>
                  <a:schemeClr val="bg1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1003">
                <a:schemeClr val="lt2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600" i="0" u="none" strike="noStrike" cap="none" normalizeH="0" baseline="0" dirty="0" err="1">
                    <a:ln>
                      <a:noFill/>
                    </a:ln>
                    <a:solidFill>
                      <a:srgbClr val="01020B"/>
                    </a:solidFill>
                    <a:effectLst/>
                    <a:latin typeface="+mj-lt"/>
                  </a:rPr>
                  <a:t>DataNode</a:t>
                </a:r>
                <a:endParaRPr kumimoji="0" lang="en-US" sz="1600" i="0" u="none" strike="noStrike" cap="none" normalizeH="0" baseline="0" dirty="0">
                  <a:ln>
                    <a:noFill/>
                  </a:ln>
                  <a:solidFill>
                    <a:srgbClr val="01020B"/>
                  </a:solidFill>
                  <a:effectLst/>
                  <a:latin typeface="+mj-lt"/>
                </a:endParaRPr>
              </a:p>
            </p:txBody>
          </p:sp>
          <p:sp>
            <p:nvSpPr>
              <p:cNvPr id="15" name="Rounded Rectangle 8"/>
              <p:cNvSpPr/>
              <p:nvPr/>
            </p:nvSpPr>
            <p:spPr bwMode="auto">
              <a:xfrm>
                <a:off x="1076325" y="5043487"/>
                <a:ext cx="276225" cy="276225"/>
              </a:xfrm>
              <a:prstGeom prst="round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+mj-lt"/>
                </a:endParaRPr>
              </a:p>
            </p:txBody>
          </p:sp>
          <p:sp>
            <p:nvSpPr>
              <p:cNvPr id="16" name="Rounded Rectangle 9"/>
              <p:cNvSpPr/>
              <p:nvPr/>
            </p:nvSpPr>
            <p:spPr bwMode="auto">
              <a:xfrm>
                <a:off x="1404937" y="5043487"/>
                <a:ext cx="276225" cy="276225"/>
              </a:xfrm>
              <a:prstGeom prst="round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+mj-lt"/>
                </a:endParaRPr>
              </a:p>
            </p:txBody>
          </p:sp>
          <p:sp>
            <p:nvSpPr>
              <p:cNvPr id="17" name="Rounded Rectangle 10"/>
              <p:cNvSpPr/>
              <p:nvPr/>
            </p:nvSpPr>
            <p:spPr bwMode="auto">
              <a:xfrm>
                <a:off x="1743073" y="5043486"/>
                <a:ext cx="276225" cy="276225"/>
              </a:xfrm>
              <a:prstGeom prst="round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i="0" u="none" strike="noStrike" cap="none" normalizeH="0" baseline="0">
                  <a:ln>
                    <a:noFill/>
                  </a:ln>
                  <a:solidFill>
                    <a:srgbClr val="01020B"/>
                  </a:solidFill>
                  <a:effectLst/>
                  <a:latin typeface="+mj-lt"/>
                </a:endParaRPr>
              </a:p>
            </p:txBody>
          </p:sp>
        </p:grpSp>
        <p:sp>
          <p:nvSpPr>
            <p:cNvPr id="13" name="Multiply 15"/>
            <p:cNvSpPr/>
            <p:nvPr/>
          </p:nvSpPr>
          <p:spPr bwMode="auto">
            <a:xfrm>
              <a:off x="4661693" y="4291008"/>
              <a:ext cx="1895476" cy="1809747"/>
            </a:xfrm>
            <a:prstGeom prst="mathMultiply">
              <a:avLst>
                <a:gd name="adj1" fmla="val 7772"/>
              </a:avLst>
            </a:prstGeom>
            <a:solidFill>
              <a:srgbClr val="C00000"/>
            </a:solidFill>
            <a:ln w="19050" cap="flat" cmpd="sng" algn="ctr">
              <a:solidFill>
                <a:srgbClr val="A5002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endParaRPr>
            </a:p>
          </p:txBody>
        </p:sp>
      </p:grpSp>
      <p:grpSp>
        <p:nvGrpSpPr>
          <p:cNvPr id="18" name="Group 16"/>
          <p:cNvGrpSpPr/>
          <p:nvPr/>
        </p:nvGrpSpPr>
        <p:grpSpPr>
          <a:xfrm>
            <a:off x="5736960" y="3749413"/>
            <a:ext cx="3034771" cy="2027752"/>
            <a:chOff x="7200502" y="1601174"/>
            <a:chExt cx="2276078" cy="2684102"/>
          </a:xfrm>
        </p:grpSpPr>
        <p:pic>
          <p:nvPicPr>
            <p:cNvPr id="1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99345" l="3170" r="98271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2992" y="1601174"/>
              <a:ext cx="2033588" cy="2684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Multiply 18"/>
            <p:cNvSpPr/>
            <p:nvPr/>
          </p:nvSpPr>
          <p:spPr bwMode="auto">
            <a:xfrm>
              <a:off x="7200502" y="2160586"/>
              <a:ext cx="1895476" cy="1809747"/>
            </a:xfrm>
            <a:prstGeom prst="mathMultiply">
              <a:avLst>
                <a:gd name="adj1" fmla="val 7772"/>
              </a:avLst>
            </a:prstGeom>
            <a:solidFill>
              <a:srgbClr val="C00000"/>
            </a:solidFill>
            <a:ln w="19050" cap="flat" cmpd="sng" algn="ctr">
              <a:solidFill>
                <a:srgbClr val="A5002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8253941" y="4876802"/>
            <a:ext cx="2715153" cy="1809747"/>
            <a:chOff x="6190455" y="4876801"/>
            <a:chExt cx="2036365" cy="1809747"/>
          </a:xfrm>
        </p:grpSpPr>
        <p:pic>
          <p:nvPicPr>
            <p:cNvPr id="22" name="Picture 5" descr="http://www.epcsolutions.com/prod/files/images/image/FAM/FAM%20IT%20datacenter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309" b="100000" l="3604" r="9945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0455" y="5094285"/>
              <a:ext cx="2036365" cy="1379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Multiply 24"/>
            <p:cNvSpPr/>
            <p:nvPr/>
          </p:nvSpPr>
          <p:spPr bwMode="auto">
            <a:xfrm>
              <a:off x="6190455" y="4876801"/>
              <a:ext cx="1895476" cy="1809747"/>
            </a:xfrm>
            <a:prstGeom prst="mathMultiply">
              <a:avLst>
                <a:gd name="adj1" fmla="val 7772"/>
              </a:avLst>
            </a:prstGeom>
            <a:solidFill>
              <a:srgbClr val="C00000"/>
            </a:solidFill>
            <a:ln w="19050" cap="flat" cmpd="sng" algn="ctr">
              <a:solidFill>
                <a:srgbClr val="A5002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7386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내 </a:t>
            </a:r>
            <a:r>
              <a:rPr lang="ko-KR" altLang="en-US" dirty="0" err="1"/>
              <a:t>결함성</a:t>
            </a:r>
            <a:r>
              <a:rPr lang="ko-KR" altLang="en-US" dirty="0"/>
              <a:t> </a:t>
            </a:r>
            <a:r>
              <a:rPr lang="en-US" altLang="ko-KR" dirty="0"/>
              <a:t>(</a:t>
            </a:r>
            <a:r>
              <a:rPr lang="ko-KR" altLang="en-US"/>
              <a:t>데이터 노드 실패</a:t>
            </a:r>
            <a:r>
              <a:rPr lang="en-US" altLang="ko-KR" dirty="0"/>
              <a:t>)</a:t>
            </a:r>
            <a:endParaRPr lang="ko-KR" altLang="en-US"/>
          </a:p>
        </p:txBody>
      </p:sp>
      <p:sp>
        <p:nvSpPr>
          <p:cNvPr id="4" name="Rounded Rectangle 4"/>
          <p:cNvSpPr/>
          <p:nvPr/>
        </p:nvSpPr>
        <p:spPr bwMode="auto">
          <a:xfrm>
            <a:off x="6083300" y="1771651"/>
            <a:ext cx="2209800" cy="628651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ounded Rectangle 6"/>
          <p:cNvSpPr/>
          <p:nvPr/>
        </p:nvSpPr>
        <p:spPr bwMode="auto">
          <a:xfrm>
            <a:off x="9131300" y="1866899"/>
            <a:ext cx="2209800" cy="43815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1003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ackup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" name="Group 10"/>
          <p:cNvGrpSpPr/>
          <p:nvPr/>
        </p:nvGrpSpPr>
        <p:grpSpPr>
          <a:xfrm>
            <a:off x="673099" y="4981574"/>
            <a:ext cx="1778001" cy="904875"/>
            <a:chOff x="876299" y="4552950"/>
            <a:chExt cx="1333501" cy="904875"/>
          </a:xfrm>
        </p:grpSpPr>
        <p:sp>
          <p:nvSpPr>
            <p:cNvPr id="7" name="Rounded Rectangle 5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2794000" y="4981574"/>
            <a:ext cx="1778001" cy="904875"/>
            <a:chOff x="876299" y="4552950"/>
            <a:chExt cx="1333501" cy="904875"/>
          </a:xfrm>
        </p:grpSpPr>
        <p:sp>
          <p:nvSpPr>
            <p:cNvPr id="12" name="Rounded Rectangle 1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Rounded Rectangle 1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Rounded Rectangle 1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" name="Rounded Rectangle 1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4914900" y="4981574"/>
            <a:ext cx="1778001" cy="904875"/>
            <a:chOff x="876299" y="4552950"/>
            <a:chExt cx="1333501" cy="904875"/>
          </a:xfrm>
        </p:grpSpPr>
        <p:sp>
          <p:nvSpPr>
            <p:cNvPr id="17" name="Rounded Rectangle 17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Rounded Rectangle 18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9" name="Rounded Rectangle 19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0" name="Rounded Rectangle 20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7035800" y="4981574"/>
            <a:ext cx="1778001" cy="904875"/>
            <a:chOff x="876299" y="4552950"/>
            <a:chExt cx="1333501" cy="904875"/>
          </a:xfrm>
        </p:grpSpPr>
        <p:sp>
          <p:nvSpPr>
            <p:cNvPr id="22" name="Rounded Rectangle 2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3" name="Rounded Rectangle 2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4" name="Rounded Rectangle 2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ounded Rectangle 2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6" name="Group 26"/>
          <p:cNvGrpSpPr/>
          <p:nvPr/>
        </p:nvGrpSpPr>
        <p:grpSpPr>
          <a:xfrm>
            <a:off x="9156700" y="4981574"/>
            <a:ext cx="1778001" cy="904875"/>
            <a:chOff x="876299" y="4552950"/>
            <a:chExt cx="1333501" cy="904875"/>
          </a:xfrm>
        </p:grpSpPr>
        <p:sp>
          <p:nvSpPr>
            <p:cNvPr id="27" name="Rounded Rectangle 27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" name="Rounded Rectangle 28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Rounded Rectangle 29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0" name="Rounded Rectangle 30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cxnSp>
        <p:nvCxnSpPr>
          <p:cNvPr id="31" name="Straight Connector 32"/>
          <p:cNvCxnSpPr>
            <a:stCxn id="4" idx="3"/>
            <a:endCxn id="5" idx="1"/>
          </p:cNvCxnSpPr>
          <p:nvPr/>
        </p:nvCxnSpPr>
        <p:spPr bwMode="auto">
          <a:xfrm flipV="1">
            <a:off x="8293100" y="2085976"/>
            <a:ext cx="838200" cy="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lg" len="lg"/>
            <a:tailEnd type="triangle" w="lg" len="lg"/>
          </a:ln>
          <a:effectLst/>
        </p:spPr>
      </p:cxnSp>
      <p:cxnSp>
        <p:nvCxnSpPr>
          <p:cNvPr id="32" name="Straight Connector 34"/>
          <p:cNvCxnSpPr>
            <a:stCxn id="4" idx="2"/>
            <a:endCxn id="7" idx="0"/>
          </p:cNvCxnSpPr>
          <p:nvPr/>
        </p:nvCxnSpPr>
        <p:spPr bwMode="auto">
          <a:xfrm flipH="1">
            <a:off x="1562101" y="2400301"/>
            <a:ext cx="56261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3" name="Straight Connector 35"/>
          <p:cNvCxnSpPr>
            <a:stCxn id="4" idx="2"/>
            <a:endCxn id="12" idx="0"/>
          </p:cNvCxnSpPr>
          <p:nvPr/>
        </p:nvCxnSpPr>
        <p:spPr bwMode="auto">
          <a:xfrm flipH="1">
            <a:off x="3683000" y="2400301"/>
            <a:ext cx="35052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4" name="Straight Connector 38"/>
          <p:cNvCxnSpPr>
            <a:stCxn id="4" idx="2"/>
            <a:endCxn id="17" idx="0"/>
          </p:cNvCxnSpPr>
          <p:nvPr/>
        </p:nvCxnSpPr>
        <p:spPr bwMode="auto">
          <a:xfrm flipH="1">
            <a:off x="5803901" y="2400301"/>
            <a:ext cx="13843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5" name="Straight Connector 41"/>
          <p:cNvCxnSpPr>
            <a:stCxn id="4" idx="2"/>
            <a:endCxn id="22" idx="0"/>
          </p:cNvCxnSpPr>
          <p:nvPr/>
        </p:nvCxnSpPr>
        <p:spPr bwMode="auto">
          <a:xfrm>
            <a:off x="7188200" y="2400301"/>
            <a:ext cx="7366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6" name="Straight Connector 44"/>
          <p:cNvCxnSpPr>
            <a:stCxn id="4" idx="2"/>
            <a:endCxn id="27" idx="0"/>
          </p:cNvCxnSpPr>
          <p:nvPr/>
        </p:nvCxnSpPr>
        <p:spPr bwMode="auto">
          <a:xfrm>
            <a:off x="7188201" y="2400301"/>
            <a:ext cx="28575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4342805" y="3529355"/>
            <a:ext cx="3259226" cy="323165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5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r>
              <a:rPr lang="ko-KR" altLang="en-US" sz="15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가 </a:t>
            </a:r>
            <a:r>
              <a:rPr lang="en-US" altLang="ko-KR" sz="15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Node</a:t>
            </a:r>
            <a:r>
              <a:rPr lang="en-US" altLang="ko-KR" sz="15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15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손실을</a:t>
            </a:r>
            <a:r>
              <a:rPr lang="en-US" altLang="ko-KR" sz="15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15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감지</a:t>
            </a:r>
            <a:endParaRPr lang="en-US" sz="15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Multiply 33"/>
          <p:cNvSpPr/>
          <p:nvPr/>
        </p:nvSpPr>
        <p:spPr bwMode="auto">
          <a:xfrm>
            <a:off x="8782048" y="4529137"/>
            <a:ext cx="2527301" cy="1809747"/>
          </a:xfrm>
          <a:prstGeom prst="mathMultiply">
            <a:avLst>
              <a:gd name="adj1" fmla="val 14614"/>
            </a:avLst>
          </a:prstGeom>
          <a:solidFill>
            <a:srgbClr val="C00000"/>
          </a:solidFill>
          <a:ln w="19050" cap="flat" cmpd="sng" algn="ctr">
            <a:solidFill>
              <a:srgbClr val="A5002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949698" y="3413938"/>
            <a:ext cx="3536015" cy="923330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ko-KR" altLang="en-US" sz="18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블록은</a:t>
            </a:r>
            <a:r>
              <a:rPr lang="en-US" sz="18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‘Replication Factor’</a:t>
            </a:r>
            <a:r>
              <a:rPr lang="ko-KR" altLang="en-US" sz="18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를 만족하기 위해 나머지 노드에 자동으로 복제됨</a:t>
            </a:r>
            <a:endParaRPr lang="en-US" sz="18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0" name="Group 2"/>
          <p:cNvGrpSpPr/>
          <p:nvPr/>
        </p:nvGrpSpPr>
        <p:grpSpPr>
          <a:xfrm>
            <a:off x="7035800" y="4959250"/>
            <a:ext cx="1778001" cy="1228024"/>
            <a:chOff x="5276146" y="4977904"/>
            <a:chExt cx="1333501" cy="1228024"/>
          </a:xfrm>
        </p:grpSpPr>
        <p:sp>
          <p:nvSpPr>
            <p:cNvPr id="41" name="Rounded Rectangle 42"/>
            <p:cNvSpPr/>
            <p:nvPr/>
          </p:nvSpPr>
          <p:spPr bwMode="auto">
            <a:xfrm>
              <a:off x="5276146" y="4977904"/>
              <a:ext cx="1333501" cy="1228024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Rounded Rectangle 43"/>
            <p:cNvSpPr/>
            <p:nvPr/>
          </p:nvSpPr>
          <p:spPr bwMode="auto">
            <a:xfrm>
              <a:off x="5476172" y="546844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Rounded Rectangle 46"/>
            <p:cNvSpPr/>
            <p:nvPr/>
          </p:nvSpPr>
          <p:spPr bwMode="auto">
            <a:xfrm>
              <a:off x="5804784" y="546844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Rounded Rectangle 47"/>
            <p:cNvSpPr/>
            <p:nvPr/>
          </p:nvSpPr>
          <p:spPr bwMode="auto">
            <a:xfrm>
              <a:off x="6142920" y="5468440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ounded Rectangle 48"/>
            <p:cNvSpPr/>
            <p:nvPr/>
          </p:nvSpPr>
          <p:spPr bwMode="auto">
            <a:xfrm>
              <a:off x="5476875" y="584397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6" name="Freeform 37"/>
          <p:cNvSpPr/>
          <p:nvPr/>
        </p:nvSpPr>
        <p:spPr>
          <a:xfrm>
            <a:off x="1558977" y="5696264"/>
            <a:ext cx="5743523" cy="614615"/>
          </a:xfrm>
          <a:custGeom>
            <a:avLst/>
            <a:gdLst>
              <a:gd name="connsiteX0" fmla="*/ 0 w 4422098"/>
              <a:gd name="connsiteY0" fmla="*/ 0 h 614615"/>
              <a:gd name="connsiteX1" fmla="*/ 2308485 w 4422098"/>
              <a:gd name="connsiteY1" fmla="*/ 599607 h 614615"/>
              <a:gd name="connsiteX2" fmla="*/ 4422098 w 4422098"/>
              <a:gd name="connsiteY2" fmla="*/ 374754 h 614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22098" h="614615">
                <a:moveTo>
                  <a:pt x="0" y="0"/>
                </a:moveTo>
                <a:cubicBezTo>
                  <a:pt x="785734" y="268574"/>
                  <a:pt x="1571469" y="537148"/>
                  <a:pt x="2308485" y="599607"/>
                </a:cubicBezTo>
                <a:cubicBezTo>
                  <a:pt x="3045501" y="662066"/>
                  <a:pt x="3733799" y="518410"/>
                  <a:pt x="4422098" y="374754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lg" len="lg"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7" name="Group 60"/>
          <p:cNvGrpSpPr/>
          <p:nvPr/>
        </p:nvGrpSpPr>
        <p:grpSpPr>
          <a:xfrm>
            <a:off x="647694" y="4967447"/>
            <a:ext cx="1778001" cy="1221855"/>
            <a:chOff x="507324" y="4984073"/>
            <a:chExt cx="1333501" cy="1221855"/>
          </a:xfrm>
        </p:grpSpPr>
        <p:sp>
          <p:nvSpPr>
            <p:cNvPr id="48" name="Rounded Rectangle 55"/>
            <p:cNvSpPr/>
            <p:nvPr/>
          </p:nvSpPr>
          <p:spPr bwMode="auto">
            <a:xfrm>
              <a:off x="507324" y="4984073"/>
              <a:ext cx="1333501" cy="122185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Rounded Rectangle 56"/>
            <p:cNvSpPr/>
            <p:nvPr/>
          </p:nvSpPr>
          <p:spPr bwMode="auto">
            <a:xfrm>
              <a:off x="707350" y="5474610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ounded Rectangle 57"/>
            <p:cNvSpPr/>
            <p:nvPr/>
          </p:nvSpPr>
          <p:spPr bwMode="auto">
            <a:xfrm>
              <a:off x="1035962" y="5474610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ounded Rectangle 58"/>
            <p:cNvSpPr/>
            <p:nvPr/>
          </p:nvSpPr>
          <p:spPr bwMode="auto">
            <a:xfrm>
              <a:off x="1374098" y="5474609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ounded Rectangle 59"/>
            <p:cNvSpPr/>
            <p:nvPr/>
          </p:nvSpPr>
          <p:spPr bwMode="auto">
            <a:xfrm>
              <a:off x="715311" y="584397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53" name="Freeform 61"/>
          <p:cNvSpPr/>
          <p:nvPr/>
        </p:nvSpPr>
        <p:spPr>
          <a:xfrm flipH="1">
            <a:off x="1308101" y="5726244"/>
            <a:ext cx="6177612" cy="363973"/>
          </a:xfrm>
          <a:custGeom>
            <a:avLst/>
            <a:gdLst>
              <a:gd name="connsiteX0" fmla="*/ 0 w 4422098"/>
              <a:gd name="connsiteY0" fmla="*/ 0 h 614615"/>
              <a:gd name="connsiteX1" fmla="*/ 2308485 w 4422098"/>
              <a:gd name="connsiteY1" fmla="*/ 599607 h 614615"/>
              <a:gd name="connsiteX2" fmla="*/ 4422098 w 4422098"/>
              <a:gd name="connsiteY2" fmla="*/ 374754 h 614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22098" h="614615">
                <a:moveTo>
                  <a:pt x="0" y="0"/>
                </a:moveTo>
                <a:cubicBezTo>
                  <a:pt x="785734" y="268574"/>
                  <a:pt x="1571469" y="537148"/>
                  <a:pt x="2308485" y="599607"/>
                </a:cubicBezTo>
                <a:cubicBezTo>
                  <a:pt x="3045501" y="662066"/>
                  <a:pt x="3733799" y="518410"/>
                  <a:pt x="4422098" y="374754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lg" len="lg"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54" name="Group 62"/>
          <p:cNvGrpSpPr/>
          <p:nvPr/>
        </p:nvGrpSpPr>
        <p:grpSpPr>
          <a:xfrm>
            <a:off x="4914898" y="4964362"/>
            <a:ext cx="1778001" cy="1228024"/>
            <a:chOff x="5276146" y="4977904"/>
            <a:chExt cx="1333501" cy="1228024"/>
          </a:xfrm>
        </p:grpSpPr>
        <p:sp>
          <p:nvSpPr>
            <p:cNvPr id="55" name="Rounded Rectangle 63"/>
            <p:cNvSpPr/>
            <p:nvPr/>
          </p:nvSpPr>
          <p:spPr bwMode="auto">
            <a:xfrm>
              <a:off x="5276146" y="4977904"/>
              <a:ext cx="1333501" cy="1228024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ounded Rectangle 64"/>
            <p:cNvSpPr/>
            <p:nvPr/>
          </p:nvSpPr>
          <p:spPr bwMode="auto">
            <a:xfrm>
              <a:off x="5476172" y="546844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ounded Rectangle 65"/>
            <p:cNvSpPr/>
            <p:nvPr/>
          </p:nvSpPr>
          <p:spPr bwMode="auto">
            <a:xfrm>
              <a:off x="5804784" y="546844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Rounded Rectangle 66"/>
            <p:cNvSpPr/>
            <p:nvPr/>
          </p:nvSpPr>
          <p:spPr bwMode="auto">
            <a:xfrm>
              <a:off x="6142920" y="5468440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Rounded Rectangle 67"/>
            <p:cNvSpPr/>
            <p:nvPr/>
          </p:nvSpPr>
          <p:spPr bwMode="auto">
            <a:xfrm>
              <a:off x="5476875" y="584397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0" name="Freeform 68"/>
          <p:cNvSpPr/>
          <p:nvPr/>
        </p:nvSpPr>
        <p:spPr>
          <a:xfrm>
            <a:off x="3149246" y="5726262"/>
            <a:ext cx="2196516" cy="614615"/>
          </a:xfrm>
          <a:custGeom>
            <a:avLst/>
            <a:gdLst>
              <a:gd name="connsiteX0" fmla="*/ 0 w 4422098"/>
              <a:gd name="connsiteY0" fmla="*/ 0 h 614615"/>
              <a:gd name="connsiteX1" fmla="*/ 2308485 w 4422098"/>
              <a:gd name="connsiteY1" fmla="*/ 599607 h 614615"/>
              <a:gd name="connsiteX2" fmla="*/ 4422098 w 4422098"/>
              <a:gd name="connsiteY2" fmla="*/ 374754 h 614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22098" h="614615">
                <a:moveTo>
                  <a:pt x="0" y="0"/>
                </a:moveTo>
                <a:cubicBezTo>
                  <a:pt x="785734" y="268574"/>
                  <a:pt x="1571469" y="537148"/>
                  <a:pt x="2308485" y="599607"/>
                </a:cubicBezTo>
                <a:cubicBezTo>
                  <a:pt x="3045501" y="662066"/>
                  <a:pt x="3733799" y="518410"/>
                  <a:pt x="4422098" y="374754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lg" len="lg"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091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7" grpId="1" animBg="1"/>
      <p:bldP spid="38" grpId="0" animBg="1"/>
      <p:bldP spid="38" grpId="1" animBg="1"/>
      <p:bldP spid="39" grpId="0" animBg="1"/>
      <p:bldP spid="39" grpId="1" animBg="1"/>
      <p:bldP spid="46" grpId="0" animBg="1"/>
      <p:bldP spid="46" grpId="1" animBg="1"/>
      <p:bldP spid="53" grpId="0" animBg="1"/>
      <p:bldP spid="53" grpId="1" animBg="1"/>
      <p:bldP spid="60" grpId="0" animBg="1"/>
      <p:bldP spid="60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내 </a:t>
            </a:r>
            <a:r>
              <a:rPr lang="ko-KR" altLang="en-US" dirty="0" err="1"/>
              <a:t>결함성</a:t>
            </a:r>
            <a:r>
              <a:rPr lang="ko-KR" altLang="en-US" dirty="0"/>
              <a:t> </a:t>
            </a:r>
            <a:r>
              <a:rPr lang="en-US" altLang="ko-KR" dirty="0"/>
              <a:t>(</a:t>
            </a:r>
            <a:r>
              <a:rPr lang="en-US" altLang="ko-KR" dirty="0" err="1"/>
              <a:t>NameNode</a:t>
            </a:r>
            <a:r>
              <a:rPr lang="en-US" altLang="ko-KR" dirty="0"/>
              <a:t> </a:t>
            </a:r>
            <a:r>
              <a:rPr lang="ko-KR" altLang="en-US"/>
              <a:t>실패</a:t>
            </a:r>
            <a:r>
              <a:rPr lang="en-US" altLang="ko-KR" dirty="0"/>
              <a:t>)</a:t>
            </a:r>
            <a:endParaRPr lang="ko-KR" altLang="en-US"/>
          </a:p>
        </p:txBody>
      </p:sp>
      <p:sp>
        <p:nvSpPr>
          <p:cNvPr id="4" name="Rounded Rectangle 4"/>
          <p:cNvSpPr/>
          <p:nvPr/>
        </p:nvSpPr>
        <p:spPr bwMode="auto">
          <a:xfrm>
            <a:off x="6083300" y="1771651"/>
            <a:ext cx="2209800" cy="628651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ounded Rectangle 6"/>
          <p:cNvSpPr/>
          <p:nvPr/>
        </p:nvSpPr>
        <p:spPr bwMode="auto">
          <a:xfrm>
            <a:off x="9131300" y="1866899"/>
            <a:ext cx="2209800" cy="43815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1003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ackup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" name="Group 10"/>
          <p:cNvGrpSpPr/>
          <p:nvPr/>
        </p:nvGrpSpPr>
        <p:grpSpPr>
          <a:xfrm>
            <a:off x="673099" y="4981574"/>
            <a:ext cx="1778001" cy="904875"/>
            <a:chOff x="876299" y="4552950"/>
            <a:chExt cx="1333501" cy="904875"/>
          </a:xfrm>
        </p:grpSpPr>
        <p:sp>
          <p:nvSpPr>
            <p:cNvPr id="7" name="Rounded Rectangle 5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2794000" y="4981574"/>
            <a:ext cx="1778001" cy="904875"/>
            <a:chOff x="876299" y="4552950"/>
            <a:chExt cx="1333501" cy="904875"/>
          </a:xfrm>
        </p:grpSpPr>
        <p:sp>
          <p:nvSpPr>
            <p:cNvPr id="12" name="Rounded Rectangle 1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Rounded Rectangle 1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Rounded Rectangle 1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" name="Rounded Rectangle 1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4914900" y="4981574"/>
            <a:ext cx="1778001" cy="904875"/>
            <a:chOff x="876299" y="4552950"/>
            <a:chExt cx="1333501" cy="904875"/>
          </a:xfrm>
        </p:grpSpPr>
        <p:sp>
          <p:nvSpPr>
            <p:cNvPr id="17" name="Rounded Rectangle 17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Rounded Rectangle 18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9" name="Rounded Rectangle 19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0" name="Rounded Rectangle 20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7035800" y="4981574"/>
            <a:ext cx="1778001" cy="904875"/>
            <a:chOff x="876299" y="4552950"/>
            <a:chExt cx="1333501" cy="904875"/>
          </a:xfrm>
        </p:grpSpPr>
        <p:sp>
          <p:nvSpPr>
            <p:cNvPr id="22" name="Rounded Rectangle 2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3" name="Rounded Rectangle 2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4" name="Rounded Rectangle 2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ounded Rectangle 2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6" name="Group 26"/>
          <p:cNvGrpSpPr/>
          <p:nvPr/>
        </p:nvGrpSpPr>
        <p:grpSpPr>
          <a:xfrm>
            <a:off x="9156700" y="4981574"/>
            <a:ext cx="1778001" cy="904875"/>
            <a:chOff x="876299" y="4552950"/>
            <a:chExt cx="1333501" cy="904875"/>
          </a:xfrm>
        </p:grpSpPr>
        <p:sp>
          <p:nvSpPr>
            <p:cNvPr id="27" name="Rounded Rectangle 27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" name="Rounded Rectangle 28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Rounded Rectangle 29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0" name="Rounded Rectangle 30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cxnSp>
        <p:nvCxnSpPr>
          <p:cNvPr id="31" name="Straight Connector 32"/>
          <p:cNvCxnSpPr>
            <a:stCxn id="4" idx="3"/>
            <a:endCxn id="5" idx="1"/>
          </p:cNvCxnSpPr>
          <p:nvPr/>
        </p:nvCxnSpPr>
        <p:spPr bwMode="auto">
          <a:xfrm flipV="1">
            <a:off x="8293100" y="2085976"/>
            <a:ext cx="838200" cy="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lg" len="lg"/>
            <a:tailEnd type="triangle" w="lg" len="lg"/>
          </a:ln>
          <a:effectLst/>
        </p:spPr>
      </p:cxnSp>
      <p:cxnSp>
        <p:nvCxnSpPr>
          <p:cNvPr id="32" name="Straight Connector 34"/>
          <p:cNvCxnSpPr>
            <a:stCxn id="4" idx="2"/>
            <a:endCxn id="7" idx="0"/>
          </p:cNvCxnSpPr>
          <p:nvPr/>
        </p:nvCxnSpPr>
        <p:spPr bwMode="auto">
          <a:xfrm flipH="1">
            <a:off x="1562101" y="2400301"/>
            <a:ext cx="56261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3" name="Straight Connector 35"/>
          <p:cNvCxnSpPr>
            <a:stCxn id="4" idx="2"/>
            <a:endCxn id="12" idx="0"/>
          </p:cNvCxnSpPr>
          <p:nvPr/>
        </p:nvCxnSpPr>
        <p:spPr bwMode="auto">
          <a:xfrm flipH="1">
            <a:off x="3683000" y="2400301"/>
            <a:ext cx="35052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4" name="Straight Connector 38"/>
          <p:cNvCxnSpPr>
            <a:stCxn id="4" idx="2"/>
            <a:endCxn id="17" idx="0"/>
          </p:cNvCxnSpPr>
          <p:nvPr/>
        </p:nvCxnSpPr>
        <p:spPr bwMode="auto">
          <a:xfrm flipH="1">
            <a:off x="5803901" y="2400301"/>
            <a:ext cx="13843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5" name="Straight Connector 41"/>
          <p:cNvCxnSpPr>
            <a:stCxn id="4" idx="2"/>
            <a:endCxn id="22" idx="0"/>
          </p:cNvCxnSpPr>
          <p:nvPr/>
        </p:nvCxnSpPr>
        <p:spPr bwMode="auto">
          <a:xfrm>
            <a:off x="7188200" y="2400301"/>
            <a:ext cx="7366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36" name="Straight Connector 44"/>
          <p:cNvCxnSpPr>
            <a:stCxn id="4" idx="2"/>
            <a:endCxn id="27" idx="0"/>
          </p:cNvCxnSpPr>
          <p:nvPr/>
        </p:nvCxnSpPr>
        <p:spPr bwMode="auto">
          <a:xfrm>
            <a:off x="7188201" y="2400301"/>
            <a:ext cx="28575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5181601" y="3529354"/>
            <a:ext cx="4062764" cy="707886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백업 </a:t>
            </a:r>
            <a:r>
              <a:rPr lang="ko-KR" altLang="en-US" sz="20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노드가</a:t>
            </a:r>
            <a:r>
              <a:rPr lang="ko-KR" alt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있으므로 </a:t>
            </a:r>
            <a:r>
              <a:rPr lang="en-US" altLang="ko-KR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en-US" altLang="ko-KR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전체가 </a:t>
            </a:r>
            <a:r>
              <a:rPr lang="ko-KR" alt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실패하지는 않음</a:t>
            </a:r>
            <a:endParaRPr lang="en-US" sz="20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Multiply 33"/>
          <p:cNvSpPr/>
          <p:nvPr/>
        </p:nvSpPr>
        <p:spPr bwMode="auto">
          <a:xfrm>
            <a:off x="5848346" y="1181101"/>
            <a:ext cx="2527301" cy="1809747"/>
          </a:xfrm>
          <a:prstGeom prst="mathMultiply">
            <a:avLst>
              <a:gd name="adj1" fmla="val 14614"/>
            </a:avLst>
          </a:prstGeom>
          <a:solidFill>
            <a:srgbClr val="C00000"/>
          </a:solidFill>
          <a:ln w="19050" cap="flat" cmpd="sng" algn="ctr">
            <a:solidFill>
              <a:srgbClr val="A5002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160980" y="1783611"/>
            <a:ext cx="3885034" cy="1323439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r>
              <a:rPr 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손실은 수동 조정을 필요로 함</a:t>
            </a:r>
            <a:endParaRPr lang="en-US" sz="20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endParaRPr lang="en-US" sz="20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ko-KR" alt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자동 장애 조치가 </a:t>
            </a:r>
            <a:r>
              <a:rPr lang="ko-KR" altLang="en-US" sz="20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논의중</a:t>
            </a:r>
            <a:endParaRPr lang="en-US" sz="20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807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7" grpId="1" animBg="1"/>
      <p:bldP spid="38" grpId="0" animBg="1"/>
      <p:bldP spid="38" grpId="1" animBg="1"/>
      <p:bldP spid="39" grpId="0" animBg="1"/>
      <p:bldP spid="39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Hadoop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66906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라이브 수평 확장 및 재 조정</a:t>
            </a:r>
            <a:r>
              <a:rPr lang="en-US" altLang="ko-KR" dirty="0"/>
              <a:t>(rebalancing)</a:t>
            </a:r>
            <a:endParaRPr lang="ko-KR" altLang="en-US"/>
          </a:p>
        </p:txBody>
      </p:sp>
      <p:sp>
        <p:nvSpPr>
          <p:cNvPr id="3" name="Rounded Rectangle 4"/>
          <p:cNvSpPr/>
          <p:nvPr/>
        </p:nvSpPr>
        <p:spPr bwMode="auto">
          <a:xfrm>
            <a:off x="6083300" y="1771651"/>
            <a:ext cx="2209800" cy="628651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ounded Rectangle 6"/>
          <p:cNvSpPr/>
          <p:nvPr/>
        </p:nvSpPr>
        <p:spPr bwMode="auto">
          <a:xfrm>
            <a:off x="9131300" y="1866899"/>
            <a:ext cx="2209800" cy="43815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1003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Backup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5" name="Group 11"/>
          <p:cNvGrpSpPr/>
          <p:nvPr/>
        </p:nvGrpSpPr>
        <p:grpSpPr>
          <a:xfrm>
            <a:off x="2794000" y="4976627"/>
            <a:ext cx="1778001" cy="904875"/>
            <a:chOff x="876299" y="4552950"/>
            <a:chExt cx="1333501" cy="904875"/>
          </a:xfrm>
        </p:grpSpPr>
        <p:sp>
          <p:nvSpPr>
            <p:cNvPr id="6" name="Rounded Rectangle 12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" name="Rounded Rectangle 13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ounded Rectangle 14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Rounded Rectangle 15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0" name="Rounded Rectangle 27"/>
          <p:cNvSpPr/>
          <p:nvPr/>
        </p:nvSpPr>
        <p:spPr bwMode="auto">
          <a:xfrm>
            <a:off x="9156700" y="4976627"/>
            <a:ext cx="1778001" cy="904875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err="1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rPr>
              <a:t>DataNod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1" name="Straight Connector 32"/>
          <p:cNvCxnSpPr>
            <a:stCxn id="3" idx="3"/>
            <a:endCxn id="4" idx="1"/>
          </p:cNvCxnSpPr>
          <p:nvPr/>
        </p:nvCxnSpPr>
        <p:spPr bwMode="auto">
          <a:xfrm flipV="1">
            <a:off x="8293100" y="2085976"/>
            <a:ext cx="838200" cy="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triangle" w="lg" len="lg"/>
            <a:tailEnd type="triangle" w="lg" len="lg"/>
          </a:ln>
          <a:effectLst/>
        </p:spPr>
      </p:cxnSp>
      <p:cxnSp>
        <p:nvCxnSpPr>
          <p:cNvPr id="12" name="Straight Connector 34"/>
          <p:cNvCxnSpPr>
            <a:stCxn id="3" idx="2"/>
          </p:cNvCxnSpPr>
          <p:nvPr/>
        </p:nvCxnSpPr>
        <p:spPr bwMode="auto">
          <a:xfrm flipH="1">
            <a:off x="1562101" y="2400301"/>
            <a:ext cx="56261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13" name="Straight Connector 35"/>
          <p:cNvCxnSpPr>
            <a:stCxn id="3" idx="2"/>
            <a:endCxn id="6" idx="0"/>
          </p:cNvCxnSpPr>
          <p:nvPr/>
        </p:nvCxnSpPr>
        <p:spPr bwMode="auto">
          <a:xfrm flipH="1">
            <a:off x="3683000" y="2400302"/>
            <a:ext cx="3505200" cy="257632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14" name="Straight Connector 38"/>
          <p:cNvCxnSpPr>
            <a:stCxn id="3" idx="2"/>
          </p:cNvCxnSpPr>
          <p:nvPr/>
        </p:nvCxnSpPr>
        <p:spPr bwMode="auto">
          <a:xfrm flipH="1">
            <a:off x="5803901" y="2400301"/>
            <a:ext cx="13843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15" name="Straight Connector 41"/>
          <p:cNvCxnSpPr>
            <a:stCxn id="3" idx="2"/>
          </p:cNvCxnSpPr>
          <p:nvPr/>
        </p:nvCxnSpPr>
        <p:spPr bwMode="auto">
          <a:xfrm>
            <a:off x="7188200" y="2400301"/>
            <a:ext cx="736600" cy="25812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16" name="Straight Connector 44"/>
          <p:cNvCxnSpPr>
            <a:stCxn id="3" idx="2"/>
            <a:endCxn id="10" idx="0"/>
          </p:cNvCxnSpPr>
          <p:nvPr/>
        </p:nvCxnSpPr>
        <p:spPr bwMode="auto">
          <a:xfrm>
            <a:off x="7188201" y="2400302"/>
            <a:ext cx="2857500" cy="257632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8000"/>
            </a:solidFill>
            <a:prstDash val="dash"/>
            <a:round/>
            <a:headEnd type="triangle" w="lg" len="med"/>
            <a:tailEnd type="triangle" w="lg" len="med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4305873" y="3538613"/>
            <a:ext cx="4355495" cy="707886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latinLnBrk="0"/>
            <a:r>
              <a:rPr lang="en-US" sz="20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eNode</a:t>
            </a: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는</a:t>
            </a:r>
            <a:r>
              <a:rPr 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새 </a:t>
            </a:r>
            <a:r>
              <a:rPr lang="en-US" altLang="ko-KR" sz="2000" dirty="0" err="1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Node</a:t>
            </a: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가 클러스터에 추가 되었다는 것을 감지</a:t>
            </a:r>
            <a:endParaRPr lang="en-US" sz="20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8" name="Group 2"/>
          <p:cNvGrpSpPr/>
          <p:nvPr/>
        </p:nvGrpSpPr>
        <p:grpSpPr>
          <a:xfrm>
            <a:off x="7065433" y="4976626"/>
            <a:ext cx="1778001" cy="1228024"/>
            <a:chOff x="5276146" y="4977904"/>
            <a:chExt cx="1333501" cy="1228024"/>
          </a:xfrm>
        </p:grpSpPr>
        <p:sp>
          <p:nvSpPr>
            <p:cNvPr id="19" name="Rounded Rectangle 42"/>
            <p:cNvSpPr/>
            <p:nvPr/>
          </p:nvSpPr>
          <p:spPr bwMode="auto">
            <a:xfrm>
              <a:off x="5276146" y="4977904"/>
              <a:ext cx="1333501" cy="1228024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0" name="Rounded Rectangle 43"/>
            <p:cNvSpPr/>
            <p:nvPr/>
          </p:nvSpPr>
          <p:spPr bwMode="auto">
            <a:xfrm>
              <a:off x="5476172" y="546844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Rounded Rectangle 46"/>
            <p:cNvSpPr/>
            <p:nvPr/>
          </p:nvSpPr>
          <p:spPr bwMode="auto">
            <a:xfrm>
              <a:off x="5804784" y="546844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Rounded Rectangle 47"/>
            <p:cNvSpPr/>
            <p:nvPr/>
          </p:nvSpPr>
          <p:spPr bwMode="auto">
            <a:xfrm>
              <a:off x="6142920" y="5468440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3" name="Rounded Rectangle 48"/>
            <p:cNvSpPr/>
            <p:nvPr/>
          </p:nvSpPr>
          <p:spPr bwMode="auto">
            <a:xfrm>
              <a:off x="5476875" y="584397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4" name="Group 60"/>
          <p:cNvGrpSpPr/>
          <p:nvPr/>
        </p:nvGrpSpPr>
        <p:grpSpPr>
          <a:xfrm>
            <a:off x="492282" y="4995483"/>
            <a:ext cx="1778001" cy="1221855"/>
            <a:chOff x="507324" y="4984073"/>
            <a:chExt cx="1333501" cy="1221855"/>
          </a:xfrm>
        </p:grpSpPr>
        <p:sp>
          <p:nvSpPr>
            <p:cNvPr id="25" name="Rounded Rectangle 55"/>
            <p:cNvSpPr/>
            <p:nvPr/>
          </p:nvSpPr>
          <p:spPr bwMode="auto">
            <a:xfrm>
              <a:off x="507324" y="4984073"/>
              <a:ext cx="1333501" cy="122185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Rounded Rectangle 56"/>
            <p:cNvSpPr/>
            <p:nvPr/>
          </p:nvSpPr>
          <p:spPr bwMode="auto">
            <a:xfrm>
              <a:off x="707350" y="5474610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7" name="Rounded Rectangle 57"/>
            <p:cNvSpPr/>
            <p:nvPr/>
          </p:nvSpPr>
          <p:spPr bwMode="auto">
            <a:xfrm>
              <a:off x="1035962" y="5474610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" name="Rounded Rectangle 58"/>
            <p:cNvSpPr/>
            <p:nvPr/>
          </p:nvSpPr>
          <p:spPr bwMode="auto">
            <a:xfrm>
              <a:off x="1374098" y="5474609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Rounded Rectangle 59"/>
            <p:cNvSpPr/>
            <p:nvPr/>
          </p:nvSpPr>
          <p:spPr bwMode="auto">
            <a:xfrm>
              <a:off x="715311" y="584397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Group 62"/>
          <p:cNvGrpSpPr/>
          <p:nvPr/>
        </p:nvGrpSpPr>
        <p:grpSpPr>
          <a:xfrm>
            <a:off x="4953901" y="4986151"/>
            <a:ext cx="1778001" cy="1228024"/>
            <a:chOff x="5276146" y="4977904"/>
            <a:chExt cx="1333501" cy="1228024"/>
          </a:xfrm>
        </p:grpSpPr>
        <p:sp>
          <p:nvSpPr>
            <p:cNvPr id="31" name="Rounded Rectangle 63"/>
            <p:cNvSpPr/>
            <p:nvPr/>
          </p:nvSpPr>
          <p:spPr bwMode="auto">
            <a:xfrm>
              <a:off x="5276146" y="4977904"/>
              <a:ext cx="1333501" cy="1228024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Rounded Rectangle 64"/>
            <p:cNvSpPr/>
            <p:nvPr/>
          </p:nvSpPr>
          <p:spPr bwMode="auto">
            <a:xfrm>
              <a:off x="5476172" y="546844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3" name="Rounded Rectangle 65"/>
            <p:cNvSpPr/>
            <p:nvPr/>
          </p:nvSpPr>
          <p:spPr bwMode="auto">
            <a:xfrm>
              <a:off x="5804784" y="546844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4" name="Rounded Rectangle 66"/>
            <p:cNvSpPr/>
            <p:nvPr/>
          </p:nvSpPr>
          <p:spPr bwMode="auto">
            <a:xfrm>
              <a:off x="6142920" y="5468440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Rounded Rectangle 67"/>
            <p:cNvSpPr/>
            <p:nvPr/>
          </p:nvSpPr>
          <p:spPr bwMode="auto">
            <a:xfrm>
              <a:off x="5476875" y="5843971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4647632" y="3529354"/>
            <a:ext cx="3863082" cy="707886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latinLnBrk="0"/>
            <a:r>
              <a:rPr lang="ko-KR" altLang="en-US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블록은 재조정</a:t>
            </a:r>
            <a:r>
              <a:rPr lang="en-US" altLang="ko-KR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rebalancing)</a:t>
            </a: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되고 재 분산</a:t>
            </a:r>
            <a:r>
              <a:rPr lang="en-US" altLang="ko-KR" sz="2000" dirty="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re-distributed)</a:t>
            </a:r>
            <a:r>
              <a:rPr lang="ko-KR" altLang="en-US" sz="2000">
                <a:solidFill>
                  <a:srgbClr val="A5002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됨</a:t>
            </a:r>
            <a:endParaRPr lang="en-US" sz="2000" dirty="0">
              <a:solidFill>
                <a:srgbClr val="A5002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7" name="Rounded Rectangle 70"/>
          <p:cNvSpPr/>
          <p:nvPr/>
        </p:nvSpPr>
        <p:spPr bwMode="auto">
          <a:xfrm>
            <a:off x="9404049" y="5472111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ounded Rectangle 71"/>
          <p:cNvSpPr/>
          <p:nvPr/>
        </p:nvSpPr>
        <p:spPr bwMode="auto">
          <a:xfrm>
            <a:off x="9848547" y="5472111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9" name="Rounded Rectangle 72"/>
          <p:cNvSpPr/>
          <p:nvPr/>
        </p:nvSpPr>
        <p:spPr bwMode="auto">
          <a:xfrm>
            <a:off x="10293046" y="5472111"/>
            <a:ext cx="368300" cy="2762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01020B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Freeform 31"/>
          <p:cNvSpPr/>
          <p:nvPr/>
        </p:nvSpPr>
        <p:spPr>
          <a:xfrm>
            <a:off x="948267" y="5776687"/>
            <a:ext cx="9134324" cy="898191"/>
          </a:xfrm>
          <a:custGeom>
            <a:avLst/>
            <a:gdLst>
              <a:gd name="connsiteX0" fmla="*/ 0 w 6850743"/>
              <a:gd name="connsiteY0" fmla="*/ 377371 h 898191"/>
              <a:gd name="connsiteX1" fmla="*/ 1204686 w 6850743"/>
              <a:gd name="connsiteY1" fmla="*/ 725714 h 898191"/>
              <a:gd name="connsiteX2" fmla="*/ 2946400 w 6850743"/>
              <a:gd name="connsiteY2" fmla="*/ 856343 h 898191"/>
              <a:gd name="connsiteX3" fmla="*/ 6850743 w 6850743"/>
              <a:gd name="connsiteY3" fmla="*/ 0 h 898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0743" h="898191">
                <a:moveTo>
                  <a:pt x="0" y="377371"/>
                </a:moveTo>
                <a:cubicBezTo>
                  <a:pt x="356809" y="511628"/>
                  <a:pt x="713619" y="645885"/>
                  <a:pt x="1204686" y="725714"/>
                </a:cubicBezTo>
                <a:cubicBezTo>
                  <a:pt x="1695753" y="805543"/>
                  <a:pt x="2005391" y="977295"/>
                  <a:pt x="2946400" y="856343"/>
                </a:cubicBezTo>
                <a:cubicBezTo>
                  <a:pt x="3887409" y="735391"/>
                  <a:pt x="5369076" y="367695"/>
                  <a:pt x="6850743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1" name="Freeform 36"/>
          <p:cNvSpPr/>
          <p:nvPr/>
        </p:nvSpPr>
        <p:spPr>
          <a:xfrm>
            <a:off x="7528076" y="5747657"/>
            <a:ext cx="2012648" cy="755382"/>
          </a:xfrm>
          <a:custGeom>
            <a:avLst/>
            <a:gdLst>
              <a:gd name="connsiteX0" fmla="*/ 0 w 1509486"/>
              <a:gd name="connsiteY0" fmla="*/ 406400 h 755382"/>
              <a:gd name="connsiteX1" fmla="*/ 420914 w 1509486"/>
              <a:gd name="connsiteY1" fmla="*/ 754743 h 755382"/>
              <a:gd name="connsiteX2" fmla="*/ 1175657 w 1509486"/>
              <a:gd name="connsiteY2" fmla="*/ 478972 h 755382"/>
              <a:gd name="connsiteX3" fmla="*/ 1509486 w 1509486"/>
              <a:gd name="connsiteY3" fmla="*/ 0 h 755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486" h="755382">
                <a:moveTo>
                  <a:pt x="0" y="406400"/>
                </a:moveTo>
                <a:cubicBezTo>
                  <a:pt x="112485" y="574524"/>
                  <a:pt x="224971" y="742648"/>
                  <a:pt x="420914" y="754743"/>
                </a:cubicBezTo>
                <a:cubicBezTo>
                  <a:pt x="616857" y="766838"/>
                  <a:pt x="994228" y="604762"/>
                  <a:pt x="1175657" y="478972"/>
                </a:cubicBezTo>
                <a:cubicBezTo>
                  <a:pt x="1357086" y="353182"/>
                  <a:pt x="1433286" y="176591"/>
                  <a:pt x="1509486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Freeform 40"/>
          <p:cNvSpPr/>
          <p:nvPr/>
        </p:nvSpPr>
        <p:spPr>
          <a:xfrm>
            <a:off x="5418667" y="5762172"/>
            <a:ext cx="5070324" cy="863333"/>
          </a:xfrm>
          <a:custGeom>
            <a:avLst/>
            <a:gdLst>
              <a:gd name="connsiteX0" fmla="*/ 0 w 3802743"/>
              <a:gd name="connsiteY0" fmla="*/ 391886 h 863333"/>
              <a:gd name="connsiteX1" fmla="*/ 1059543 w 3802743"/>
              <a:gd name="connsiteY1" fmla="*/ 856343 h 863333"/>
              <a:gd name="connsiteX2" fmla="*/ 3164114 w 3802743"/>
              <a:gd name="connsiteY2" fmla="*/ 624115 h 863333"/>
              <a:gd name="connsiteX3" fmla="*/ 3802743 w 3802743"/>
              <a:gd name="connsiteY3" fmla="*/ 0 h 863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2743" h="863333">
                <a:moveTo>
                  <a:pt x="0" y="391886"/>
                </a:moveTo>
                <a:cubicBezTo>
                  <a:pt x="266095" y="604762"/>
                  <a:pt x="532191" y="817638"/>
                  <a:pt x="1059543" y="856343"/>
                </a:cubicBezTo>
                <a:cubicBezTo>
                  <a:pt x="1586895" y="895048"/>
                  <a:pt x="2706914" y="766839"/>
                  <a:pt x="3164114" y="624115"/>
                </a:cubicBezTo>
                <a:cubicBezTo>
                  <a:pt x="3621314" y="481391"/>
                  <a:pt x="3712028" y="240695"/>
                  <a:pt x="3802743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3" name="Group 73"/>
          <p:cNvGrpSpPr/>
          <p:nvPr/>
        </p:nvGrpSpPr>
        <p:grpSpPr>
          <a:xfrm>
            <a:off x="460228" y="4981574"/>
            <a:ext cx="1778001" cy="904875"/>
            <a:chOff x="876299" y="4552950"/>
            <a:chExt cx="1333501" cy="904875"/>
          </a:xfrm>
        </p:grpSpPr>
        <p:sp>
          <p:nvSpPr>
            <p:cNvPr id="44" name="Rounded Rectangle 74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ounded Rectangle 75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Rounded Rectangle 76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ounded Rectangle 77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Group 78"/>
          <p:cNvGrpSpPr/>
          <p:nvPr/>
        </p:nvGrpSpPr>
        <p:grpSpPr>
          <a:xfrm>
            <a:off x="7055152" y="4981574"/>
            <a:ext cx="1778001" cy="904875"/>
            <a:chOff x="876299" y="4552950"/>
            <a:chExt cx="1333501" cy="904875"/>
          </a:xfrm>
        </p:grpSpPr>
        <p:sp>
          <p:nvSpPr>
            <p:cNvPr id="49" name="Rounded Rectangle 79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ounded Rectangle 80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ounded Rectangle 81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ounded Rectangle 82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3" name="Group 83"/>
          <p:cNvGrpSpPr/>
          <p:nvPr/>
        </p:nvGrpSpPr>
        <p:grpSpPr>
          <a:xfrm>
            <a:off x="4953604" y="4981574"/>
            <a:ext cx="1778001" cy="904875"/>
            <a:chOff x="876299" y="4552950"/>
            <a:chExt cx="1333501" cy="904875"/>
          </a:xfrm>
        </p:grpSpPr>
        <p:sp>
          <p:nvSpPr>
            <p:cNvPr id="54" name="Rounded Rectangle 84"/>
            <p:cNvSpPr/>
            <p:nvPr/>
          </p:nvSpPr>
          <p:spPr bwMode="auto">
            <a:xfrm>
              <a:off x="876299" y="4552950"/>
              <a:ext cx="1333501" cy="904875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i="0" u="none" strike="noStrike" cap="none" normalizeH="0" baseline="0" dirty="0" err="1">
                  <a:ln>
                    <a:noFill/>
                  </a:ln>
                  <a:solidFill>
                    <a:srgbClr val="01020B"/>
                  </a:solidFill>
                  <a:effectLst/>
                  <a:latin typeface="Segoe UI Light" panose="020B0502040204020203" pitchFamily="34" charset="0"/>
                  <a:cs typeface="Segoe UI Light" panose="020B0502040204020203" pitchFamily="34" charset="0"/>
                </a:rPr>
                <a:t>DataNode</a:t>
              </a:r>
              <a:endParaRPr kumimoji="0" lang="en-US" sz="1600" i="0" u="none" strike="noStrike" cap="none" normalizeH="0" baseline="0" dirty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Rounded Rectangle 85"/>
            <p:cNvSpPr/>
            <p:nvPr/>
          </p:nvSpPr>
          <p:spPr bwMode="auto">
            <a:xfrm>
              <a:off x="1076325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ounded Rectangle 86"/>
            <p:cNvSpPr/>
            <p:nvPr/>
          </p:nvSpPr>
          <p:spPr bwMode="auto">
            <a:xfrm>
              <a:off x="1404937" y="5043487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ounded Rectangle 87"/>
            <p:cNvSpPr/>
            <p:nvPr/>
          </p:nvSpPr>
          <p:spPr bwMode="auto">
            <a:xfrm>
              <a:off x="1743073" y="5043486"/>
              <a:ext cx="276225" cy="27622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rgbClr val="01020B"/>
                </a:solidFill>
                <a:effectLst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5879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17" grpId="1" animBg="1"/>
      <p:bldP spid="36" grpId="0" animBg="1"/>
      <p:bldP spid="36" grpId="1" animBg="1"/>
      <p:bldP spid="37" grpId="0" animBg="1"/>
      <p:bldP spid="38" grpId="0" animBg="1"/>
      <p:bldP spid="39" grpId="0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MapReduce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ko-KR" altLang="en-US" sz="2400" dirty="0"/>
              <a:t>데이터가 있는 곳에서 프로세스를 처리</a:t>
            </a:r>
            <a:endParaRPr lang="en-US" altLang="ko-KR" sz="2400" dirty="0"/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ko-KR" altLang="en-US" sz="1600" dirty="0"/>
              <a:t>분산 </a:t>
            </a:r>
            <a:r>
              <a:rPr lang="ko-KR" altLang="en-US" sz="1600" dirty="0" err="1"/>
              <a:t>프로세싱</a:t>
            </a:r>
            <a:r>
              <a:rPr lang="en-US" altLang="ko-KR" sz="1600" dirty="0"/>
              <a:t>: </a:t>
            </a:r>
            <a:r>
              <a:rPr lang="ko-KR" altLang="en-US" sz="1600"/>
              <a:t>단일 파이프를 통한 직렬화된 프로세싱 대신 로컬 컴퓨팅을 데이터가 있는 곳으로 분산</a:t>
            </a:r>
            <a:endParaRPr lang="en-US" altLang="ko-KR" sz="1600" dirty="0"/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ko-KR" altLang="en-US" sz="1600" dirty="0"/>
              <a:t>오직 결과 데이터만 가져옴</a:t>
            </a:r>
            <a:endParaRPr lang="en-US" altLang="ko-KR" sz="1600" dirty="0"/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ko-KR" altLang="en-US" sz="1600" dirty="0" err="1"/>
              <a:t>노드를</a:t>
            </a:r>
            <a:r>
              <a:rPr lang="ko-KR" altLang="en-US" sz="1600" dirty="0"/>
              <a:t> 추가하여 선형 확장</a:t>
            </a:r>
            <a:endParaRPr lang="en-US" altLang="ko-KR" sz="1600" dirty="0"/>
          </a:p>
          <a:p>
            <a:r>
              <a:rPr lang="ko-KR" altLang="en-US" sz="2400" dirty="0"/>
              <a:t>세 단계의 실행</a:t>
            </a:r>
            <a:endParaRPr lang="en-US" altLang="ko-KR" sz="2400" dirty="0"/>
          </a:p>
          <a:p>
            <a:pPr lvl="1"/>
            <a:r>
              <a:rPr lang="en-US" altLang="ko-KR" sz="1600" dirty="0"/>
              <a:t>Map: </a:t>
            </a:r>
            <a:r>
              <a:rPr lang="ko-KR" altLang="en-US" sz="1600"/>
              <a:t>개발자는</a:t>
            </a:r>
            <a:r>
              <a:rPr lang="en-US" altLang="ko-KR" sz="1600" dirty="0"/>
              <a:t> </a:t>
            </a:r>
            <a:r>
              <a:rPr lang="ko-KR" altLang="en-US" sz="1600"/>
              <a:t>데이터에 </a:t>
            </a:r>
            <a:r>
              <a:rPr lang="en-US" altLang="ko-KR" sz="1600" dirty="0"/>
              <a:t>Map </a:t>
            </a:r>
            <a:r>
              <a:rPr lang="ko-KR" altLang="en-US" sz="1600"/>
              <a:t>함수를 작성</a:t>
            </a:r>
            <a:endParaRPr lang="en-US" altLang="ko-KR" sz="1600" dirty="0"/>
          </a:p>
          <a:p>
            <a:pPr lvl="1"/>
            <a:r>
              <a:rPr lang="en-US" altLang="ko-KR" sz="1600" dirty="0"/>
              <a:t>Shuffle / Distributes: </a:t>
            </a:r>
            <a:r>
              <a:rPr lang="ko-KR" altLang="en-US" sz="1600"/>
              <a:t>프레임워크가 자동으로 정리</a:t>
            </a:r>
            <a:r>
              <a:rPr lang="en-US" altLang="ko-KR" sz="1600" dirty="0"/>
              <a:t>(</a:t>
            </a:r>
            <a:r>
              <a:rPr lang="ko-KR" altLang="en-US" sz="1600"/>
              <a:t>네트워크</a:t>
            </a:r>
            <a:r>
              <a:rPr lang="en-US" altLang="ko-KR" sz="1600" dirty="0"/>
              <a:t>, </a:t>
            </a:r>
            <a:r>
              <a:rPr lang="ko-KR" altLang="en-US" sz="1600"/>
              <a:t>동기화</a:t>
            </a:r>
            <a:r>
              <a:rPr lang="en-US" altLang="ko-KR" sz="1600" dirty="0"/>
              <a:t>, </a:t>
            </a:r>
            <a:r>
              <a:rPr lang="ko-KR" altLang="en-US" sz="1600"/>
              <a:t>복구</a:t>
            </a:r>
            <a:r>
              <a:rPr lang="en-US" altLang="ko-KR" sz="1600" dirty="0"/>
              <a:t>, </a:t>
            </a:r>
            <a:r>
              <a:rPr lang="ko-KR" altLang="en-US" sz="1600"/>
              <a:t>스케줄링</a:t>
            </a:r>
            <a:r>
              <a:rPr lang="en-US" altLang="ko-KR" sz="1600" dirty="0"/>
              <a:t>)</a:t>
            </a:r>
          </a:p>
          <a:p>
            <a:pPr lvl="1"/>
            <a:r>
              <a:rPr lang="en-US" altLang="ko-KR" sz="1600" dirty="0"/>
              <a:t>Reduce: </a:t>
            </a:r>
            <a:r>
              <a:rPr lang="ko-KR" altLang="en-US" sz="1600"/>
              <a:t>개발자가 </a:t>
            </a:r>
            <a:r>
              <a:rPr lang="en-US" altLang="ko-KR" sz="1600" dirty="0"/>
              <a:t>Reduce </a:t>
            </a:r>
            <a:r>
              <a:rPr lang="ko-KR" altLang="en-US" sz="1600"/>
              <a:t>함수를 작성하여 결과 데이터를 반환</a:t>
            </a:r>
            <a:endParaRPr lang="en-US" altLang="ko-KR" sz="1600" dirty="0"/>
          </a:p>
        </p:txBody>
      </p:sp>
      <p:pic>
        <p:nvPicPr>
          <p:cNvPr id="4" name="Picture 41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102" y="410935"/>
            <a:ext cx="2127778" cy="645426"/>
          </a:xfrm>
          <a:prstGeom prst="rect">
            <a:avLst/>
          </a:prstGeom>
        </p:spPr>
      </p:pic>
      <p:pic>
        <p:nvPicPr>
          <p:cNvPr id="5" name="Picture 147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918507" y="306723"/>
            <a:ext cx="2024572" cy="911058"/>
          </a:xfrm>
          <a:prstGeom prst="rect">
            <a:avLst/>
          </a:prstGeom>
        </p:spPr>
      </p:pic>
      <p:sp>
        <p:nvSpPr>
          <p:cNvPr id="6" name="Rectangle 148"/>
          <p:cNvSpPr/>
          <p:nvPr/>
        </p:nvSpPr>
        <p:spPr bwMode="auto">
          <a:xfrm>
            <a:off x="9899440" y="287072"/>
            <a:ext cx="304396" cy="437091"/>
          </a:xfrm>
          <a:prstGeom prst="rect">
            <a:avLst/>
          </a:prstGeom>
          <a:noFill/>
          <a:ln w="31750" cap="sq">
            <a:solidFill>
              <a:schemeClr val="accent6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b="1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" name="Group 3"/>
          <p:cNvGrpSpPr/>
          <p:nvPr/>
        </p:nvGrpSpPr>
        <p:grpSpPr>
          <a:xfrm>
            <a:off x="422256" y="4048618"/>
            <a:ext cx="11303559" cy="2606578"/>
            <a:chOff x="430722" y="4129304"/>
            <a:chExt cx="11530219" cy="2658845"/>
          </a:xfrm>
        </p:grpSpPr>
        <p:sp>
          <p:nvSpPr>
            <p:cNvPr id="8" name="Rectangle 150"/>
            <p:cNvSpPr/>
            <p:nvPr>
              <p:custDataLst>
                <p:tags r:id="rId1"/>
              </p:custDataLst>
            </p:nvPr>
          </p:nvSpPr>
          <p:spPr bwMode="auto">
            <a:xfrm>
              <a:off x="430722" y="4129304"/>
              <a:ext cx="11530219" cy="26588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9639" tIns="89642" rIns="89639" bIns="44819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3505" fontAlgn="base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80000"/>
              </a:pPr>
              <a:endParaRPr lang="en-US" sz="1372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595959"/>
                </a:solidFill>
              </a:endParaRPr>
            </a:p>
          </p:txBody>
        </p:sp>
        <p:grpSp>
          <p:nvGrpSpPr>
            <p:cNvPr id="9" name="Group 42"/>
            <p:cNvGrpSpPr/>
            <p:nvPr/>
          </p:nvGrpSpPr>
          <p:grpSpPr>
            <a:xfrm>
              <a:off x="2545578" y="4243558"/>
              <a:ext cx="7300506" cy="2418742"/>
              <a:chOff x="3250943" y="4243558"/>
              <a:chExt cx="7300506" cy="2418742"/>
            </a:xfrm>
          </p:grpSpPr>
          <p:sp>
            <p:nvSpPr>
              <p:cNvPr id="10" name="Rectangle 65"/>
              <p:cNvSpPr/>
              <p:nvPr>
                <p:custDataLst>
                  <p:tags r:id="rId2"/>
                </p:custDataLst>
              </p:nvPr>
            </p:nvSpPr>
            <p:spPr>
              <a:xfrm>
                <a:off x="6657992" y="4276647"/>
                <a:ext cx="3893457" cy="2376764"/>
              </a:xfrm>
              <a:prstGeom prst="rect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chemeClr val="accent2"/>
                </a:solidFill>
                <a:prstDash val="solid"/>
              </a:ln>
              <a:effectLst/>
            </p:spPr>
            <p:txBody>
              <a:bodyPr wrap="square">
                <a:noAutofit/>
              </a:bodyPr>
              <a:lstStyle/>
              <a:p>
                <a:pPr>
                  <a:defRPr/>
                </a:pPr>
                <a:r>
                  <a:rPr lang="en-US" sz="1372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// Map Reduce function in JavaScript</a:t>
                </a:r>
              </a:p>
              <a:p>
                <a:pPr>
                  <a:spcBef>
                    <a:spcPts val="588"/>
                  </a:spcBef>
                  <a:defRPr/>
                </a:pP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var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 </a:t>
                </a:r>
                <a:r>
                  <a:rPr lang="en-US" sz="882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map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 = function (key, value, context) {</a:t>
                </a:r>
              </a:p>
              <a:p>
                <a:pPr>
                  <a:defRPr/>
                </a:pP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var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 words = </a:t>
                </a: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value.split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(/[^a-</a:t>
                </a: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zA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-Z]/);</a:t>
                </a:r>
              </a:p>
              <a:p>
                <a:pPr>
                  <a:defRPr/>
                </a:pP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for (</a:t>
                </a: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var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 i = 0; i &lt; </a:t>
                </a: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words.length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; i++) {</a:t>
                </a:r>
              </a:p>
              <a:p>
                <a:pPr marL="896386">
                  <a:defRPr/>
                </a:pP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if (words[i] !== "")</a:t>
                </a:r>
              </a:p>
              <a:p>
                <a:pPr>
                  <a:defRPr/>
                </a:pP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context.write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(words[i].</a:t>
                </a: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toLowerCase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(),</a:t>
                </a:r>
              </a:p>
              <a:p>
                <a:pPr>
                  <a:defRPr/>
                </a:pP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1);}</a:t>
                </a:r>
              </a:p>
              <a:p>
                <a:pPr>
                  <a:defRPr/>
                </a:pP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}};</a:t>
                </a:r>
              </a:p>
              <a:p>
                <a:pPr>
                  <a:spcBef>
                    <a:spcPts val="588"/>
                  </a:spcBef>
                  <a:defRPr/>
                </a:pP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var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 </a:t>
                </a:r>
                <a:r>
                  <a:rPr lang="en-US" sz="882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reduce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 = function (key, values, context) {</a:t>
                </a:r>
              </a:p>
              <a:p>
                <a:pPr>
                  <a:defRPr/>
                </a:pP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var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 sum = 0;</a:t>
                </a:r>
              </a:p>
              <a:p>
                <a:pPr>
                  <a:defRPr/>
                </a:pP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while (</a:t>
                </a: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values.hasNext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()) {</a:t>
                </a:r>
              </a:p>
              <a:p>
                <a:pPr>
                  <a:defRPr/>
                </a:pP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sum += </a:t>
                </a: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parseInt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(</a:t>
                </a: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values.next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());</a:t>
                </a:r>
              </a:p>
              <a:p>
                <a:pPr marL="448193">
                  <a:defRPr/>
                </a:pP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}</a:t>
                </a:r>
              </a:p>
              <a:p>
                <a:pPr>
                  <a:defRPr/>
                </a:pPr>
                <a:r>
                  <a:rPr lang="en-US" sz="882" kern="0" dirty="0" err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context.write</a:t>
                </a: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(key, sum);</a:t>
                </a:r>
              </a:p>
              <a:p>
                <a:pPr>
                  <a:defRPr/>
                </a:pPr>
                <a:r>
                  <a:rPr lang="en-US" sz="882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  <a:latin typeface="Consolas" pitchFamily="49" charset="0"/>
                    <a:ea typeface="MS PGothic" charset="0"/>
                    <a:cs typeface="Consolas" pitchFamily="49" charset="0"/>
                  </a:rPr>
                  <a:t>};</a:t>
                </a:r>
              </a:p>
            </p:txBody>
          </p:sp>
          <p:grpSp>
            <p:nvGrpSpPr>
              <p:cNvPr id="11" name="Group 2"/>
              <p:cNvGrpSpPr/>
              <p:nvPr/>
            </p:nvGrpSpPr>
            <p:grpSpPr>
              <a:xfrm>
                <a:off x="3250943" y="4243558"/>
                <a:ext cx="2672637" cy="2418742"/>
                <a:chOff x="5861685" y="1512253"/>
                <a:chExt cx="5669280" cy="4643014"/>
              </a:xfrm>
            </p:grpSpPr>
            <p:sp>
              <p:nvSpPr>
                <p:cNvPr id="14" name="Rectangle 117"/>
                <p:cNvSpPr/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6044565" y="2914333"/>
                  <a:ext cx="1463040" cy="4572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Shuffle</a:t>
                  </a:r>
                </a:p>
              </p:txBody>
            </p:sp>
            <p:sp>
              <p:nvSpPr>
                <p:cNvPr id="15" name="Rectangle 118"/>
                <p:cNvSpPr/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6044565" y="3615373"/>
                  <a:ext cx="1463040" cy="4572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Reduce</a:t>
                  </a:r>
                </a:p>
              </p:txBody>
            </p:sp>
            <p:sp>
              <p:nvSpPr>
                <p:cNvPr id="16" name="Rectangle 119"/>
                <p:cNvSpPr/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7964805" y="4316413"/>
                  <a:ext cx="1463040" cy="4572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Shuffle</a:t>
                  </a:r>
                </a:p>
              </p:txBody>
            </p:sp>
            <p:sp>
              <p:nvSpPr>
                <p:cNvPr id="17" name="Rectangle 120"/>
                <p:cNvSpPr/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7964805" y="5017453"/>
                  <a:ext cx="1463040" cy="4572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Reduce</a:t>
                  </a:r>
                </a:p>
              </p:txBody>
            </p:sp>
            <p:sp>
              <p:nvSpPr>
                <p:cNvPr id="18" name="Rectangle 121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541493" y="5718495"/>
                  <a:ext cx="2457259" cy="436772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Output domain</a:t>
                  </a:r>
                </a:p>
              </p:txBody>
            </p:sp>
            <p:sp>
              <p:nvSpPr>
                <p:cNvPr id="19" name="Rectangle 122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9885045" y="2213293"/>
                  <a:ext cx="1463040" cy="45720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Map</a:t>
                  </a:r>
                </a:p>
              </p:txBody>
            </p:sp>
            <p:sp>
              <p:nvSpPr>
                <p:cNvPr id="20" name="Rectangle 123"/>
                <p:cNvSpPr/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7964805" y="2213293"/>
                  <a:ext cx="1463040" cy="45720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Map</a:t>
                  </a:r>
                </a:p>
              </p:txBody>
            </p:sp>
            <p:sp>
              <p:nvSpPr>
                <p:cNvPr id="21" name="Rectangle 124"/>
                <p:cNvSpPr/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6044565" y="2213293"/>
                  <a:ext cx="1463040" cy="45720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Map</a:t>
                  </a:r>
                </a:p>
              </p:txBody>
            </p:sp>
            <p:sp>
              <p:nvSpPr>
                <p:cNvPr id="22" name="Rectangle 125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7964805" y="2914333"/>
                  <a:ext cx="1463040" cy="4572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Shuffle</a:t>
                  </a:r>
                </a:p>
              </p:txBody>
            </p:sp>
            <p:sp>
              <p:nvSpPr>
                <p:cNvPr id="23" name="Rectangle 126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9885045" y="2914333"/>
                  <a:ext cx="1463040" cy="4572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Shuffle</a:t>
                  </a:r>
                </a:p>
              </p:txBody>
            </p:sp>
            <p:sp>
              <p:nvSpPr>
                <p:cNvPr id="24" name="Rectangle 127"/>
                <p:cNvSpPr/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7964805" y="3615373"/>
                  <a:ext cx="1463040" cy="4572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Reduce</a:t>
                  </a:r>
                </a:p>
              </p:txBody>
            </p:sp>
            <p:sp>
              <p:nvSpPr>
                <p:cNvPr id="25" name="Rectangle 128"/>
                <p:cNvSpPr/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9885045" y="3615373"/>
                  <a:ext cx="1463040" cy="4572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</a:rPr>
                    <a:t>Reduce</a:t>
                  </a:r>
                </a:p>
              </p:txBody>
            </p:sp>
            <p:sp>
              <p:nvSpPr>
                <p:cNvPr id="26" name="Rectangle 129"/>
                <p:cNvSpPr/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5861685" y="1512253"/>
                  <a:ext cx="1828800" cy="4572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078" b="1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</a:endParaRPr>
                </a:p>
              </p:txBody>
            </p:sp>
            <p:sp>
              <p:nvSpPr>
                <p:cNvPr id="27" name="Rectangle 130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7781925" y="1512253"/>
                  <a:ext cx="1828800" cy="4572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98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FFFFFF"/>
                      </a:solidFill>
                    </a:rPr>
                    <a:t>Input Domain</a:t>
                  </a:r>
                </a:p>
              </p:txBody>
            </p:sp>
            <p:sp>
              <p:nvSpPr>
                <p:cNvPr id="28" name="Rectangle 131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9702165" y="1512253"/>
                  <a:ext cx="1828800" cy="4572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89609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078" b="1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6F6F6F"/>
                    </a:solidFill>
                  </a:endParaRPr>
                </a:p>
              </p:txBody>
            </p:sp>
            <p:cxnSp>
              <p:nvCxnSpPr>
                <p:cNvPr id="29" name="Straight Arrow Connector 132"/>
                <p:cNvCxnSpPr>
                  <a:stCxn id="27" idx="2"/>
                  <a:endCxn id="20" idx="0"/>
                </p:cNvCxnSpPr>
                <p:nvPr/>
              </p:nvCxnSpPr>
              <p:spPr>
                <a:xfrm>
                  <a:off x="8696325" y="196945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Arrow Connector 133"/>
                <p:cNvCxnSpPr>
                  <a:stCxn id="26" idx="2"/>
                  <a:endCxn id="21" idx="0"/>
                </p:cNvCxnSpPr>
                <p:nvPr/>
              </p:nvCxnSpPr>
              <p:spPr>
                <a:xfrm>
                  <a:off x="6776085" y="196945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Arrow Connector 134"/>
                <p:cNvCxnSpPr>
                  <a:stCxn id="28" idx="2"/>
                  <a:endCxn id="19" idx="0"/>
                </p:cNvCxnSpPr>
                <p:nvPr/>
              </p:nvCxnSpPr>
              <p:spPr>
                <a:xfrm>
                  <a:off x="10616565" y="196945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Arrow Connector 135"/>
                <p:cNvCxnSpPr>
                  <a:stCxn id="20" idx="2"/>
                  <a:endCxn id="22" idx="0"/>
                </p:cNvCxnSpPr>
                <p:nvPr/>
              </p:nvCxnSpPr>
              <p:spPr>
                <a:xfrm>
                  <a:off x="8696325" y="267049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Arrow Connector 136"/>
                <p:cNvCxnSpPr>
                  <a:stCxn id="21" idx="2"/>
                  <a:endCxn id="14" idx="0"/>
                </p:cNvCxnSpPr>
                <p:nvPr/>
              </p:nvCxnSpPr>
              <p:spPr>
                <a:xfrm>
                  <a:off x="6776085" y="267049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Arrow Connector 137"/>
                <p:cNvCxnSpPr>
                  <a:stCxn id="19" idx="2"/>
                  <a:endCxn id="23" idx="0"/>
                </p:cNvCxnSpPr>
                <p:nvPr/>
              </p:nvCxnSpPr>
              <p:spPr>
                <a:xfrm>
                  <a:off x="10616565" y="267049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Arrow Connector 138"/>
                <p:cNvCxnSpPr>
                  <a:stCxn id="22" idx="2"/>
                  <a:endCxn id="24" idx="0"/>
                </p:cNvCxnSpPr>
                <p:nvPr/>
              </p:nvCxnSpPr>
              <p:spPr>
                <a:xfrm>
                  <a:off x="8696325" y="337153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Arrow Connector 139"/>
                <p:cNvCxnSpPr>
                  <a:stCxn id="14" idx="2"/>
                  <a:endCxn id="15" idx="0"/>
                </p:cNvCxnSpPr>
                <p:nvPr/>
              </p:nvCxnSpPr>
              <p:spPr>
                <a:xfrm>
                  <a:off x="6776085" y="337153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Arrow Connector 140"/>
                <p:cNvCxnSpPr>
                  <a:stCxn id="23" idx="2"/>
                  <a:endCxn id="25" idx="0"/>
                </p:cNvCxnSpPr>
                <p:nvPr/>
              </p:nvCxnSpPr>
              <p:spPr>
                <a:xfrm>
                  <a:off x="10616565" y="337153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Arrow Connector 141"/>
                <p:cNvCxnSpPr>
                  <a:stCxn id="24" idx="2"/>
                  <a:endCxn id="16" idx="0"/>
                </p:cNvCxnSpPr>
                <p:nvPr/>
              </p:nvCxnSpPr>
              <p:spPr>
                <a:xfrm>
                  <a:off x="8696325" y="407257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Arrow Connector 142"/>
                <p:cNvCxnSpPr>
                  <a:stCxn id="16" idx="2"/>
                  <a:endCxn id="17" idx="0"/>
                </p:cNvCxnSpPr>
                <p:nvPr/>
              </p:nvCxnSpPr>
              <p:spPr>
                <a:xfrm>
                  <a:off x="8696325" y="477361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Straight Arrow Connector 143"/>
                <p:cNvCxnSpPr>
                  <a:stCxn id="17" idx="2"/>
                </p:cNvCxnSpPr>
                <p:nvPr/>
              </p:nvCxnSpPr>
              <p:spPr>
                <a:xfrm>
                  <a:off x="8696325" y="5474653"/>
                  <a:ext cx="0" cy="243840"/>
                </a:xfrm>
                <a:prstGeom prst="straightConnector1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Arrow Connector 82"/>
                <p:cNvCxnSpPr>
                  <a:stCxn id="25" idx="2"/>
                  <a:endCxn id="16" idx="3"/>
                </p:cNvCxnSpPr>
                <p:nvPr/>
              </p:nvCxnSpPr>
              <p:spPr>
                <a:xfrm rot="5400000">
                  <a:off x="9785985" y="3714433"/>
                  <a:ext cx="472440" cy="1188720"/>
                </a:xfrm>
                <a:prstGeom prst="bentConnector2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Arrow Connector 82"/>
                <p:cNvCxnSpPr>
                  <a:stCxn id="15" idx="2"/>
                  <a:endCxn id="16" idx="1"/>
                </p:cNvCxnSpPr>
                <p:nvPr/>
              </p:nvCxnSpPr>
              <p:spPr>
                <a:xfrm rot="16200000" flipH="1">
                  <a:off x="7134225" y="3714433"/>
                  <a:ext cx="472440" cy="1188720"/>
                </a:xfrm>
                <a:prstGeom prst="bentConnector2">
                  <a:avLst/>
                </a:prstGeom>
                <a:ln>
                  <a:solidFill>
                    <a:schemeClr val="tx2"/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" name="Right Arrow 66"/>
              <p:cNvSpPr/>
              <p:nvPr/>
            </p:nvSpPr>
            <p:spPr bwMode="auto">
              <a:xfrm rot="10800000">
                <a:off x="5949233" y="4541722"/>
                <a:ext cx="669751" cy="370824"/>
              </a:xfrm>
              <a:prstGeom prst="rightArrow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89639" tIns="44819" rIns="89639" bIns="44819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96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57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13" name="Right Arrow 146"/>
              <p:cNvSpPr/>
              <p:nvPr/>
            </p:nvSpPr>
            <p:spPr bwMode="auto">
              <a:xfrm rot="10800000">
                <a:off x="5949232" y="5259835"/>
                <a:ext cx="669751" cy="370824"/>
              </a:xfrm>
              <a:prstGeom prst="rightArrow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89639" tIns="44819" rIns="89639" bIns="44819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96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57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45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adoop MapReduce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>
          <a:xfrm>
            <a:off x="274639" y="1319769"/>
            <a:ext cx="5194918" cy="5553705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ko-KR" sz="3200" dirty="0"/>
              <a:t>HDFS</a:t>
            </a:r>
            <a:r>
              <a:rPr lang="ko-KR" altLang="en-US" sz="3200"/>
              <a:t>에 저장되어 있는 데이터 집합을 분석하기 위한 프로그래밍 프레임워크 </a:t>
            </a:r>
            <a:r>
              <a:rPr lang="en-US" altLang="ko-KR" sz="3200" dirty="0"/>
              <a:t>(</a:t>
            </a:r>
            <a:r>
              <a:rPr lang="ko-KR" altLang="en-US" sz="3200"/>
              <a:t>라이브러리와 런타임</a:t>
            </a:r>
            <a:r>
              <a:rPr lang="en-US" altLang="ko-KR" sz="3200" dirty="0"/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ko-KR" altLang="en-US" sz="3200" dirty="0"/>
              <a:t>사용자가 제공하는 </a:t>
            </a:r>
            <a:r>
              <a:rPr lang="en-US" altLang="ko-KR" sz="3200" dirty="0"/>
              <a:t>Map</a:t>
            </a:r>
            <a:r>
              <a:rPr lang="ko-KR" altLang="en-US" sz="3200"/>
              <a:t>과 </a:t>
            </a:r>
            <a:r>
              <a:rPr lang="en-US" altLang="ko-KR" sz="3200" dirty="0"/>
              <a:t>Reduce </a:t>
            </a:r>
            <a:r>
              <a:rPr lang="ko-KR" altLang="en-US" sz="3200"/>
              <a:t>기능 </a:t>
            </a:r>
            <a:endParaRPr lang="en-US" altLang="ko-KR" sz="3200" dirty="0"/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en-US" altLang="ko-KR" sz="2000" dirty="0"/>
              <a:t>Map() – subdivide and conquer (</a:t>
            </a:r>
            <a:r>
              <a:rPr lang="ko-KR" altLang="en-US" sz="2000"/>
              <a:t>분할과 정복</a:t>
            </a:r>
            <a:r>
              <a:rPr lang="en-US" altLang="ko-KR" sz="2000" dirty="0"/>
              <a:t>)</a:t>
            </a:r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en-US" altLang="ko-KR" sz="2000" dirty="0"/>
              <a:t>Reduce() – </a:t>
            </a:r>
            <a:r>
              <a:rPr lang="ko-KR" altLang="en-US" sz="2000"/>
              <a:t>결합하고 카디널리티를 감소시킴</a:t>
            </a:r>
          </a:p>
        </p:txBody>
      </p:sp>
      <p:sp>
        <p:nvSpPr>
          <p:cNvPr id="4" name="Slide Number Placeholder 5"/>
          <p:cNvSpPr txBox="1">
            <a:spLocks/>
          </p:cNvSpPr>
          <p:nvPr/>
        </p:nvSpPr>
        <p:spPr>
          <a:xfrm>
            <a:off x="12144375" y="6437313"/>
            <a:ext cx="555625" cy="1349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r" defTabSz="932688" rtl="0" eaLnBrk="1" latinLnBrk="1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44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688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032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376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064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408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752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8A0AC42-AA1D-4944-8D96-660DE70C7E1B}" type="slidenum">
              <a:rPr lang="en-IN" smtClean="0"/>
              <a:pPr>
                <a:defRPr/>
              </a:pPr>
              <a:t>22</a:t>
            </a:fld>
            <a:endParaRPr lang="en-IN" dirty="0"/>
          </a:p>
        </p:txBody>
      </p:sp>
      <p:grpSp>
        <p:nvGrpSpPr>
          <p:cNvPr id="5" name="Group 65"/>
          <p:cNvGrpSpPr/>
          <p:nvPr/>
        </p:nvGrpSpPr>
        <p:grpSpPr>
          <a:xfrm>
            <a:off x="7213994" y="5152100"/>
            <a:ext cx="4173333" cy="556995"/>
            <a:chOff x="7267499" y="4959199"/>
            <a:chExt cx="4257017" cy="568164"/>
          </a:xfrm>
        </p:grpSpPr>
        <p:sp>
          <p:nvSpPr>
            <p:cNvPr id="6" name="Isosceles Triangle 24"/>
            <p:cNvSpPr/>
            <p:nvPr/>
          </p:nvSpPr>
          <p:spPr bwMode="auto">
            <a:xfrm flipV="1">
              <a:off x="7267499" y="4959199"/>
              <a:ext cx="4257017" cy="568164"/>
            </a:xfrm>
            <a:prstGeom prst="triangle">
              <a:avLst/>
            </a:prstGeom>
            <a:noFill/>
            <a:ln w="19050" cap="rnd">
              <a:solidFill>
                <a:schemeClr val="bg1">
                  <a:lumMod val="75000"/>
                </a:schemeClr>
              </a:solidFill>
              <a:prstDash val="sysDot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grpSp>
          <p:nvGrpSpPr>
            <p:cNvPr id="7" name="Group 60"/>
            <p:cNvGrpSpPr/>
            <p:nvPr/>
          </p:nvGrpSpPr>
          <p:grpSpPr>
            <a:xfrm>
              <a:off x="8445328" y="5004579"/>
              <a:ext cx="1901359" cy="409584"/>
              <a:chOff x="8412347" y="5004579"/>
              <a:chExt cx="1901359" cy="409584"/>
            </a:xfrm>
          </p:grpSpPr>
          <p:sp>
            <p:nvSpPr>
              <p:cNvPr id="8" name="Rectangle 25"/>
              <p:cNvSpPr/>
              <p:nvPr/>
            </p:nvSpPr>
            <p:spPr bwMode="auto">
              <a:xfrm>
                <a:off x="8412347" y="5016953"/>
                <a:ext cx="429805" cy="22810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9" name="Rectangle 26"/>
              <p:cNvSpPr/>
              <p:nvPr/>
            </p:nvSpPr>
            <p:spPr bwMode="auto">
              <a:xfrm>
                <a:off x="9148124" y="5186055"/>
                <a:ext cx="429805" cy="22810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10" name="Rectangle 27"/>
              <p:cNvSpPr/>
              <p:nvPr/>
            </p:nvSpPr>
            <p:spPr bwMode="auto">
              <a:xfrm>
                <a:off x="9883901" y="5004579"/>
                <a:ext cx="429805" cy="22810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sp>
        <p:nvSpPr>
          <p:cNvPr id="11" name="Rectangle 28"/>
          <p:cNvSpPr/>
          <p:nvPr/>
        </p:nvSpPr>
        <p:spPr bwMode="auto">
          <a:xfrm>
            <a:off x="8719231" y="5814143"/>
            <a:ext cx="1162856" cy="539798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r>
              <a: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Output</a:t>
            </a:r>
          </a:p>
        </p:txBody>
      </p:sp>
      <p:sp>
        <p:nvSpPr>
          <p:cNvPr id="12" name="Left Brace 14"/>
          <p:cNvSpPr/>
          <p:nvPr/>
        </p:nvSpPr>
        <p:spPr>
          <a:xfrm>
            <a:off x="6538163" y="1278141"/>
            <a:ext cx="183846" cy="2868311"/>
          </a:xfrm>
          <a:prstGeom prst="leftBrace">
            <a:avLst>
              <a:gd name="adj1" fmla="val 47876"/>
              <a:gd name="adj2" fmla="val 50000"/>
            </a:avLst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67"/>
            <a:endParaRPr lang="en-US" sz="1961" dirty="0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17897" y="2270315"/>
            <a:ext cx="888878" cy="883961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89642" tIns="44821" rIns="89642" bIns="44821" rtlCol="0" anchor="ctr">
            <a:noAutofit/>
          </a:bodyPr>
          <a:lstStyle/>
          <a:p>
            <a:pPr algn="ctr" defTabSz="914367"/>
            <a:r>
              <a:rPr lang="en-US" sz="1568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ap(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617897" y="4938219"/>
            <a:ext cx="888878" cy="883961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wrap="none" lIns="89642" tIns="44821" rIns="89642" bIns="44821" rtlCol="0" anchor="ctr">
            <a:noAutofit/>
          </a:bodyPr>
          <a:lstStyle/>
          <a:p>
            <a:pPr algn="ctr" defTabSz="914367"/>
            <a:r>
              <a:rPr lang="en-US" sz="1568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educe()</a:t>
            </a:r>
          </a:p>
        </p:txBody>
      </p:sp>
      <p:sp>
        <p:nvSpPr>
          <p:cNvPr id="15" name="Left Brace 54"/>
          <p:cNvSpPr/>
          <p:nvPr/>
        </p:nvSpPr>
        <p:spPr>
          <a:xfrm>
            <a:off x="6538163" y="4406457"/>
            <a:ext cx="183846" cy="1947485"/>
          </a:xfrm>
          <a:prstGeom prst="leftBrace">
            <a:avLst>
              <a:gd name="adj1" fmla="val 47876"/>
              <a:gd name="adj2" fmla="val 50000"/>
            </a:avLst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67"/>
            <a:endParaRPr lang="en-US" sz="1961" dirty="0">
              <a:solidFill>
                <a:srgbClr val="000000"/>
              </a:solidFill>
            </a:endParaRPr>
          </a:p>
        </p:txBody>
      </p:sp>
      <p:grpSp>
        <p:nvGrpSpPr>
          <p:cNvPr id="16" name="Group 64"/>
          <p:cNvGrpSpPr/>
          <p:nvPr/>
        </p:nvGrpSpPr>
        <p:grpSpPr>
          <a:xfrm>
            <a:off x="6926965" y="3520315"/>
            <a:ext cx="4750107" cy="580975"/>
            <a:chOff x="6974714" y="3492630"/>
            <a:chExt cx="4845357" cy="592625"/>
          </a:xfrm>
        </p:grpSpPr>
        <p:grpSp>
          <p:nvGrpSpPr>
            <p:cNvPr id="17" name="Group 4"/>
            <p:cNvGrpSpPr/>
            <p:nvPr/>
          </p:nvGrpSpPr>
          <p:grpSpPr>
            <a:xfrm>
              <a:off x="6974714" y="3492630"/>
              <a:ext cx="1236395" cy="592625"/>
              <a:chOff x="6860414" y="3771242"/>
              <a:chExt cx="1236395" cy="592625"/>
            </a:xfrm>
          </p:grpSpPr>
          <p:sp>
            <p:nvSpPr>
              <p:cNvPr id="26" name="Rectangle 15"/>
              <p:cNvSpPr/>
              <p:nvPr/>
            </p:nvSpPr>
            <p:spPr bwMode="auto">
              <a:xfrm>
                <a:off x="7114341" y="3771242"/>
                <a:ext cx="858083" cy="22810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7023054" y="4025313"/>
                <a:ext cx="1073755" cy="33855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89642" tIns="44821" rIns="89642" bIns="44821" rtlCol="0">
                <a:noAutofit/>
              </a:bodyPr>
              <a:lstStyle/>
              <a:p>
                <a:pPr defTabSz="914367"/>
                <a:r>
                  <a:rPr lang="en-US" sz="1568" dirty="0">
                    <a:solidFill>
                      <a:srgbClr val="0072C6"/>
                    </a:solidFill>
                  </a:rPr>
                  <a:t>Do work()</a:t>
                </a:r>
              </a:p>
            </p:txBody>
          </p:sp>
          <p:sp>
            <p:nvSpPr>
              <p:cNvPr id="28" name="Curved Up Arrow 9"/>
              <p:cNvSpPr/>
              <p:nvPr/>
            </p:nvSpPr>
            <p:spPr bwMode="auto">
              <a:xfrm rot="5400000" flipH="1">
                <a:off x="6776799" y="3914855"/>
                <a:ext cx="393096" cy="225866"/>
              </a:xfrm>
              <a:prstGeom prst="curvedUp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8" name="Group 45"/>
            <p:cNvGrpSpPr/>
            <p:nvPr/>
          </p:nvGrpSpPr>
          <p:grpSpPr>
            <a:xfrm>
              <a:off x="8779195" y="3492630"/>
              <a:ext cx="1236395" cy="592625"/>
              <a:chOff x="6860414" y="3771242"/>
              <a:chExt cx="1236395" cy="592625"/>
            </a:xfrm>
          </p:grpSpPr>
          <p:sp>
            <p:nvSpPr>
              <p:cNvPr id="23" name="Rectangle 46"/>
              <p:cNvSpPr/>
              <p:nvPr/>
            </p:nvSpPr>
            <p:spPr bwMode="auto">
              <a:xfrm>
                <a:off x="7114341" y="3771242"/>
                <a:ext cx="858083" cy="22810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7023054" y="4025313"/>
                <a:ext cx="1073755" cy="33855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89642" tIns="44821" rIns="89642" bIns="44821" rtlCol="0">
                <a:noAutofit/>
              </a:bodyPr>
              <a:lstStyle/>
              <a:p>
                <a:pPr defTabSz="914367"/>
                <a:r>
                  <a:rPr lang="en-US" sz="1568" dirty="0">
                    <a:solidFill>
                      <a:srgbClr val="0072C6"/>
                    </a:solidFill>
                  </a:rPr>
                  <a:t>Do work()</a:t>
                </a:r>
              </a:p>
            </p:txBody>
          </p:sp>
          <p:sp>
            <p:nvSpPr>
              <p:cNvPr id="25" name="Curved Up Arrow 48"/>
              <p:cNvSpPr/>
              <p:nvPr/>
            </p:nvSpPr>
            <p:spPr bwMode="auto">
              <a:xfrm rot="5400000" flipH="1">
                <a:off x="6776799" y="3914855"/>
                <a:ext cx="393096" cy="225866"/>
              </a:xfrm>
              <a:prstGeom prst="curvedUp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9" name="Group 49"/>
            <p:cNvGrpSpPr/>
            <p:nvPr/>
          </p:nvGrpSpPr>
          <p:grpSpPr>
            <a:xfrm>
              <a:off x="10583676" y="3492630"/>
              <a:ext cx="1236395" cy="592625"/>
              <a:chOff x="6860414" y="3771242"/>
              <a:chExt cx="1236395" cy="592625"/>
            </a:xfrm>
          </p:grpSpPr>
          <p:sp>
            <p:nvSpPr>
              <p:cNvPr id="20" name="Rectangle 50"/>
              <p:cNvSpPr/>
              <p:nvPr/>
            </p:nvSpPr>
            <p:spPr bwMode="auto">
              <a:xfrm>
                <a:off x="7114341" y="3771242"/>
                <a:ext cx="858083" cy="22810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7023054" y="4025313"/>
                <a:ext cx="1073755" cy="33855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89642" tIns="44821" rIns="89642" bIns="44821" rtlCol="0">
                <a:noAutofit/>
              </a:bodyPr>
              <a:lstStyle/>
              <a:p>
                <a:pPr defTabSz="914367"/>
                <a:r>
                  <a:rPr lang="en-US" sz="1568" dirty="0">
                    <a:solidFill>
                      <a:srgbClr val="0072C6"/>
                    </a:solidFill>
                  </a:rPr>
                  <a:t>Do work()</a:t>
                </a:r>
              </a:p>
            </p:txBody>
          </p:sp>
          <p:sp>
            <p:nvSpPr>
              <p:cNvPr id="22" name="Curved Up Arrow 52"/>
              <p:cNvSpPr/>
              <p:nvPr/>
            </p:nvSpPr>
            <p:spPr bwMode="auto">
              <a:xfrm rot="5400000" flipH="1">
                <a:off x="6776799" y="3914855"/>
                <a:ext cx="393096" cy="225866"/>
              </a:xfrm>
              <a:prstGeom prst="curvedUp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10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35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grpSp>
        <p:nvGrpSpPr>
          <p:cNvPr id="29" name="Group 62"/>
          <p:cNvGrpSpPr/>
          <p:nvPr/>
        </p:nvGrpSpPr>
        <p:grpSpPr>
          <a:xfrm>
            <a:off x="6779441" y="2822900"/>
            <a:ext cx="5501918" cy="561211"/>
            <a:chOff x="6824232" y="2781232"/>
            <a:chExt cx="5612243" cy="572464"/>
          </a:xfrm>
        </p:grpSpPr>
        <p:sp>
          <p:nvSpPr>
            <p:cNvPr id="30" name="TextBox 29"/>
            <p:cNvSpPr txBox="1"/>
            <p:nvPr/>
          </p:nvSpPr>
          <p:spPr>
            <a:xfrm>
              <a:off x="7228640" y="2781232"/>
              <a:ext cx="5207835" cy="5724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89642" tIns="143428" rIns="44821" bIns="143428" rtlCol="0">
              <a:spAutoFit/>
            </a:bodyPr>
            <a:lstStyle/>
            <a:p>
              <a:pPr defTabSz="914367"/>
              <a:r>
                <a:rPr lang="ko-KR" altLang="en-US" sz="1765" dirty="0">
                  <a:solidFill>
                    <a:srgbClr val="FFFFFF"/>
                  </a:solidFill>
                </a:rPr>
                <a:t>쪼개진 작은 문제에서 같은 함수를 실행</a:t>
              </a:r>
              <a:endParaRPr lang="en-US" sz="1765"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 55"/>
            <p:cNvSpPr>
              <a:spLocks/>
            </p:cNvSpPr>
            <p:nvPr/>
          </p:nvSpPr>
          <p:spPr bwMode="auto">
            <a:xfrm>
              <a:off x="6824232" y="2842985"/>
              <a:ext cx="273184" cy="448958"/>
            </a:xfrm>
            <a:custGeom>
              <a:avLst/>
              <a:gdLst>
                <a:gd name="T0" fmla="*/ 608 w 617"/>
                <a:gd name="T1" fmla="*/ 1014 h 1014"/>
                <a:gd name="T2" fmla="*/ 17 w 617"/>
                <a:gd name="T3" fmla="*/ 1014 h 1014"/>
                <a:gd name="T4" fmla="*/ 6 w 617"/>
                <a:gd name="T5" fmla="*/ 1014 h 1014"/>
                <a:gd name="T6" fmla="*/ 0 w 617"/>
                <a:gd name="T7" fmla="*/ 1009 h 1014"/>
                <a:gd name="T8" fmla="*/ 2 w 617"/>
                <a:gd name="T9" fmla="*/ 936 h 1014"/>
                <a:gd name="T10" fmla="*/ 11 w 617"/>
                <a:gd name="T11" fmla="*/ 862 h 1014"/>
                <a:gd name="T12" fmla="*/ 25 w 617"/>
                <a:gd name="T13" fmla="*/ 820 h 1014"/>
                <a:gd name="T14" fmla="*/ 56 w 617"/>
                <a:gd name="T15" fmla="*/ 764 h 1014"/>
                <a:gd name="T16" fmla="*/ 98 w 617"/>
                <a:gd name="T17" fmla="*/ 714 h 1014"/>
                <a:gd name="T18" fmla="*/ 167 w 617"/>
                <a:gd name="T19" fmla="*/ 651 h 1014"/>
                <a:gd name="T20" fmla="*/ 241 w 617"/>
                <a:gd name="T21" fmla="*/ 595 h 1014"/>
                <a:gd name="T22" fmla="*/ 361 w 617"/>
                <a:gd name="T23" fmla="*/ 498 h 1014"/>
                <a:gd name="T24" fmla="*/ 392 w 617"/>
                <a:gd name="T25" fmla="*/ 464 h 1014"/>
                <a:gd name="T26" fmla="*/ 431 w 617"/>
                <a:gd name="T27" fmla="*/ 409 h 1014"/>
                <a:gd name="T28" fmla="*/ 455 w 617"/>
                <a:gd name="T29" fmla="*/ 344 h 1014"/>
                <a:gd name="T30" fmla="*/ 461 w 617"/>
                <a:gd name="T31" fmla="*/ 287 h 1014"/>
                <a:gd name="T32" fmla="*/ 456 w 617"/>
                <a:gd name="T33" fmla="*/ 231 h 1014"/>
                <a:gd name="T34" fmla="*/ 440 w 617"/>
                <a:gd name="T35" fmla="*/ 184 h 1014"/>
                <a:gd name="T36" fmla="*/ 398 w 617"/>
                <a:gd name="T37" fmla="*/ 133 h 1014"/>
                <a:gd name="T38" fmla="*/ 333 w 617"/>
                <a:gd name="T39" fmla="*/ 103 h 1014"/>
                <a:gd name="T40" fmla="*/ 286 w 617"/>
                <a:gd name="T41" fmla="*/ 97 h 1014"/>
                <a:gd name="T42" fmla="*/ 219 w 617"/>
                <a:gd name="T43" fmla="*/ 103 h 1014"/>
                <a:gd name="T44" fmla="*/ 155 w 617"/>
                <a:gd name="T45" fmla="*/ 128 h 1014"/>
                <a:gd name="T46" fmla="*/ 98 w 617"/>
                <a:gd name="T47" fmla="*/ 164 h 1014"/>
                <a:gd name="T48" fmla="*/ 50 w 617"/>
                <a:gd name="T49" fmla="*/ 208 h 1014"/>
                <a:gd name="T50" fmla="*/ 39 w 617"/>
                <a:gd name="T51" fmla="*/ 214 h 1014"/>
                <a:gd name="T52" fmla="*/ 39 w 617"/>
                <a:gd name="T53" fmla="*/ 206 h 1014"/>
                <a:gd name="T54" fmla="*/ 41 w 617"/>
                <a:gd name="T55" fmla="*/ 95 h 1014"/>
                <a:gd name="T56" fmla="*/ 45 w 617"/>
                <a:gd name="T57" fmla="*/ 89 h 1014"/>
                <a:gd name="T58" fmla="*/ 108 w 617"/>
                <a:gd name="T59" fmla="*/ 44 h 1014"/>
                <a:gd name="T60" fmla="*/ 177 w 617"/>
                <a:gd name="T61" fmla="*/ 14 h 1014"/>
                <a:gd name="T62" fmla="*/ 226 w 617"/>
                <a:gd name="T63" fmla="*/ 3 h 1014"/>
                <a:gd name="T64" fmla="*/ 323 w 617"/>
                <a:gd name="T65" fmla="*/ 0 h 1014"/>
                <a:gd name="T66" fmla="*/ 381 w 617"/>
                <a:gd name="T67" fmla="*/ 9 h 1014"/>
                <a:gd name="T68" fmla="*/ 439 w 617"/>
                <a:gd name="T69" fmla="*/ 31 h 1014"/>
                <a:gd name="T70" fmla="*/ 500 w 617"/>
                <a:gd name="T71" fmla="*/ 72 h 1014"/>
                <a:gd name="T72" fmla="*/ 529 w 617"/>
                <a:gd name="T73" fmla="*/ 105 h 1014"/>
                <a:gd name="T74" fmla="*/ 553 w 617"/>
                <a:gd name="T75" fmla="*/ 145 h 1014"/>
                <a:gd name="T76" fmla="*/ 565 w 617"/>
                <a:gd name="T77" fmla="*/ 176 h 1014"/>
                <a:gd name="T78" fmla="*/ 576 w 617"/>
                <a:gd name="T79" fmla="*/ 228 h 1014"/>
                <a:gd name="T80" fmla="*/ 578 w 617"/>
                <a:gd name="T81" fmla="*/ 298 h 1014"/>
                <a:gd name="T82" fmla="*/ 570 w 617"/>
                <a:gd name="T83" fmla="*/ 355 h 1014"/>
                <a:gd name="T84" fmla="*/ 553 w 617"/>
                <a:gd name="T85" fmla="*/ 408 h 1014"/>
                <a:gd name="T86" fmla="*/ 520 w 617"/>
                <a:gd name="T87" fmla="*/ 472 h 1014"/>
                <a:gd name="T88" fmla="*/ 447 w 617"/>
                <a:gd name="T89" fmla="*/ 555 h 1014"/>
                <a:gd name="T90" fmla="*/ 381 w 617"/>
                <a:gd name="T91" fmla="*/ 608 h 1014"/>
                <a:gd name="T92" fmla="*/ 256 w 617"/>
                <a:gd name="T93" fmla="*/ 700 h 1014"/>
                <a:gd name="T94" fmla="*/ 203 w 617"/>
                <a:gd name="T95" fmla="*/ 744 h 1014"/>
                <a:gd name="T96" fmla="*/ 159 w 617"/>
                <a:gd name="T97" fmla="*/ 789 h 1014"/>
                <a:gd name="T98" fmla="*/ 141 w 617"/>
                <a:gd name="T99" fmla="*/ 817 h 1014"/>
                <a:gd name="T100" fmla="*/ 122 w 617"/>
                <a:gd name="T101" fmla="*/ 875 h 1014"/>
                <a:gd name="T102" fmla="*/ 120 w 617"/>
                <a:gd name="T103" fmla="*/ 906 h 1014"/>
                <a:gd name="T104" fmla="*/ 131 w 617"/>
                <a:gd name="T105" fmla="*/ 911 h 1014"/>
                <a:gd name="T106" fmla="*/ 142 w 617"/>
                <a:gd name="T107" fmla="*/ 911 h 1014"/>
                <a:gd name="T108" fmla="*/ 611 w 617"/>
                <a:gd name="T109" fmla="*/ 911 h 1014"/>
                <a:gd name="T110" fmla="*/ 617 w 617"/>
                <a:gd name="T111" fmla="*/ 926 h 1014"/>
                <a:gd name="T112" fmla="*/ 617 w 617"/>
                <a:gd name="T113" fmla="*/ 1000 h 1014"/>
                <a:gd name="T114" fmla="*/ 615 w 617"/>
                <a:gd name="T115" fmla="*/ 1014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17" h="1014">
                  <a:moveTo>
                    <a:pt x="615" y="1014"/>
                  </a:moveTo>
                  <a:lnTo>
                    <a:pt x="615" y="1014"/>
                  </a:lnTo>
                  <a:lnTo>
                    <a:pt x="608" y="1014"/>
                  </a:lnTo>
                  <a:lnTo>
                    <a:pt x="600" y="1014"/>
                  </a:lnTo>
                  <a:lnTo>
                    <a:pt x="600" y="1014"/>
                  </a:lnTo>
                  <a:lnTo>
                    <a:pt x="17" y="1014"/>
                  </a:lnTo>
                  <a:lnTo>
                    <a:pt x="17" y="1014"/>
                  </a:lnTo>
                  <a:lnTo>
                    <a:pt x="6" y="1014"/>
                  </a:lnTo>
                  <a:lnTo>
                    <a:pt x="6" y="1014"/>
                  </a:lnTo>
                  <a:lnTo>
                    <a:pt x="2" y="1014"/>
                  </a:lnTo>
                  <a:lnTo>
                    <a:pt x="0" y="1012"/>
                  </a:lnTo>
                  <a:lnTo>
                    <a:pt x="0" y="1009"/>
                  </a:lnTo>
                  <a:lnTo>
                    <a:pt x="0" y="1009"/>
                  </a:lnTo>
                  <a:lnTo>
                    <a:pt x="0" y="972"/>
                  </a:lnTo>
                  <a:lnTo>
                    <a:pt x="2" y="936"/>
                  </a:lnTo>
                  <a:lnTo>
                    <a:pt x="5" y="898"/>
                  </a:lnTo>
                  <a:lnTo>
                    <a:pt x="6" y="881"/>
                  </a:lnTo>
                  <a:lnTo>
                    <a:pt x="11" y="862"/>
                  </a:lnTo>
                  <a:lnTo>
                    <a:pt x="11" y="862"/>
                  </a:lnTo>
                  <a:lnTo>
                    <a:pt x="17" y="841"/>
                  </a:lnTo>
                  <a:lnTo>
                    <a:pt x="25" y="820"/>
                  </a:lnTo>
                  <a:lnTo>
                    <a:pt x="34" y="801"/>
                  </a:lnTo>
                  <a:lnTo>
                    <a:pt x="44" y="783"/>
                  </a:lnTo>
                  <a:lnTo>
                    <a:pt x="56" y="764"/>
                  </a:lnTo>
                  <a:lnTo>
                    <a:pt x="69" y="747"/>
                  </a:lnTo>
                  <a:lnTo>
                    <a:pt x="83" y="730"/>
                  </a:lnTo>
                  <a:lnTo>
                    <a:pt x="98" y="714"/>
                  </a:lnTo>
                  <a:lnTo>
                    <a:pt x="98" y="714"/>
                  </a:lnTo>
                  <a:lnTo>
                    <a:pt x="131" y="681"/>
                  </a:lnTo>
                  <a:lnTo>
                    <a:pt x="167" y="651"/>
                  </a:lnTo>
                  <a:lnTo>
                    <a:pt x="203" y="623"/>
                  </a:lnTo>
                  <a:lnTo>
                    <a:pt x="241" y="595"/>
                  </a:lnTo>
                  <a:lnTo>
                    <a:pt x="241" y="595"/>
                  </a:lnTo>
                  <a:lnTo>
                    <a:pt x="303" y="548"/>
                  </a:lnTo>
                  <a:lnTo>
                    <a:pt x="333" y="525"/>
                  </a:lnTo>
                  <a:lnTo>
                    <a:pt x="361" y="498"/>
                  </a:lnTo>
                  <a:lnTo>
                    <a:pt x="361" y="498"/>
                  </a:lnTo>
                  <a:lnTo>
                    <a:pt x="378" y="481"/>
                  </a:lnTo>
                  <a:lnTo>
                    <a:pt x="392" y="464"/>
                  </a:lnTo>
                  <a:lnTo>
                    <a:pt x="406" y="447"/>
                  </a:lnTo>
                  <a:lnTo>
                    <a:pt x="420" y="428"/>
                  </a:lnTo>
                  <a:lnTo>
                    <a:pt x="431" y="409"/>
                  </a:lnTo>
                  <a:lnTo>
                    <a:pt x="440" y="389"/>
                  </a:lnTo>
                  <a:lnTo>
                    <a:pt x="448" y="367"/>
                  </a:lnTo>
                  <a:lnTo>
                    <a:pt x="455" y="344"/>
                  </a:lnTo>
                  <a:lnTo>
                    <a:pt x="455" y="344"/>
                  </a:lnTo>
                  <a:lnTo>
                    <a:pt x="459" y="316"/>
                  </a:lnTo>
                  <a:lnTo>
                    <a:pt x="461" y="287"/>
                  </a:lnTo>
                  <a:lnTo>
                    <a:pt x="461" y="259"/>
                  </a:lnTo>
                  <a:lnTo>
                    <a:pt x="459" y="245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0" y="206"/>
                  </a:lnTo>
                  <a:lnTo>
                    <a:pt x="440" y="184"/>
                  </a:lnTo>
                  <a:lnTo>
                    <a:pt x="428" y="164"/>
                  </a:lnTo>
                  <a:lnTo>
                    <a:pt x="414" y="147"/>
                  </a:lnTo>
                  <a:lnTo>
                    <a:pt x="398" y="133"/>
                  </a:lnTo>
                  <a:lnTo>
                    <a:pt x="378" y="120"/>
                  </a:lnTo>
                  <a:lnTo>
                    <a:pt x="356" y="111"/>
                  </a:lnTo>
                  <a:lnTo>
                    <a:pt x="333" y="103"/>
                  </a:lnTo>
                  <a:lnTo>
                    <a:pt x="333" y="103"/>
                  </a:lnTo>
                  <a:lnTo>
                    <a:pt x="309" y="98"/>
                  </a:lnTo>
                  <a:lnTo>
                    <a:pt x="286" y="97"/>
                  </a:lnTo>
                  <a:lnTo>
                    <a:pt x="264" y="97"/>
                  </a:lnTo>
                  <a:lnTo>
                    <a:pt x="241" y="100"/>
                  </a:lnTo>
                  <a:lnTo>
                    <a:pt x="219" y="103"/>
                  </a:lnTo>
                  <a:lnTo>
                    <a:pt x="198" y="111"/>
                  </a:lnTo>
                  <a:lnTo>
                    <a:pt x="177" y="119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27" y="145"/>
                  </a:lnTo>
                  <a:lnTo>
                    <a:pt x="98" y="164"/>
                  </a:lnTo>
                  <a:lnTo>
                    <a:pt x="73" y="184"/>
                  </a:lnTo>
                  <a:lnTo>
                    <a:pt x="50" y="208"/>
                  </a:lnTo>
                  <a:lnTo>
                    <a:pt x="50" y="208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39" y="214"/>
                  </a:lnTo>
                  <a:lnTo>
                    <a:pt x="39" y="211"/>
                  </a:lnTo>
                  <a:lnTo>
                    <a:pt x="39" y="206"/>
                  </a:lnTo>
                  <a:lnTo>
                    <a:pt x="39" y="206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1" y="95"/>
                  </a:lnTo>
                  <a:lnTo>
                    <a:pt x="42" y="92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66" y="72"/>
                  </a:lnTo>
                  <a:lnTo>
                    <a:pt x="86" y="56"/>
                  </a:lnTo>
                  <a:lnTo>
                    <a:pt x="108" y="44"/>
                  </a:lnTo>
                  <a:lnTo>
                    <a:pt x="130" y="31"/>
                  </a:lnTo>
                  <a:lnTo>
                    <a:pt x="152" y="22"/>
                  </a:lnTo>
                  <a:lnTo>
                    <a:pt x="177" y="14"/>
                  </a:lnTo>
                  <a:lnTo>
                    <a:pt x="200" y="8"/>
                  </a:lnTo>
                  <a:lnTo>
                    <a:pt x="226" y="3"/>
                  </a:lnTo>
                  <a:lnTo>
                    <a:pt x="226" y="3"/>
                  </a:lnTo>
                  <a:lnTo>
                    <a:pt x="266" y="0"/>
                  </a:lnTo>
                  <a:lnTo>
                    <a:pt x="305" y="0"/>
                  </a:lnTo>
                  <a:lnTo>
                    <a:pt x="323" y="0"/>
                  </a:lnTo>
                  <a:lnTo>
                    <a:pt x="342" y="1"/>
                  </a:lnTo>
                  <a:lnTo>
                    <a:pt x="362" y="5"/>
                  </a:lnTo>
                  <a:lnTo>
                    <a:pt x="381" y="9"/>
                  </a:lnTo>
                  <a:lnTo>
                    <a:pt x="381" y="9"/>
                  </a:lnTo>
                  <a:lnTo>
                    <a:pt x="411" y="19"/>
                  </a:lnTo>
                  <a:lnTo>
                    <a:pt x="439" y="31"/>
                  </a:lnTo>
                  <a:lnTo>
                    <a:pt x="465" y="45"/>
                  </a:lnTo>
                  <a:lnTo>
                    <a:pt x="489" y="62"/>
                  </a:lnTo>
                  <a:lnTo>
                    <a:pt x="500" y="72"/>
                  </a:lnTo>
                  <a:lnTo>
                    <a:pt x="511" y="83"/>
                  </a:lnTo>
                  <a:lnTo>
                    <a:pt x="520" y="94"/>
                  </a:lnTo>
                  <a:lnTo>
                    <a:pt x="529" y="105"/>
                  </a:lnTo>
                  <a:lnTo>
                    <a:pt x="537" y="117"/>
                  </a:lnTo>
                  <a:lnTo>
                    <a:pt x="545" y="131"/>
                  </a:lnTo>
                  <a:lnTo>
                    <a:pt x="553" y="145"/>
                  </a:lnTo>
                  <a:lnTo>
                    <a:pt x="559" y="159"/>
                  </a:lnTo>
                  <a:lnTo>
                    <a:pt x="559" y="159"/>
                  </a:lnTo>
                  <a:lnTo>
                    <a:pt x="565" y="176"/>
                  </a:lnTo>
                  <a:lnTo>
                    <a:pt x="570" y="194"/>
                  </a:lnTo>
                  <a:lnTo>
                    <a:pt x="573" y="211"/>
                  </a:lnTo>
                  <a:lnTo>
                    <a:pt x="576" y="228"/>
                  </a:lnTo>
                  <a:lnTo>
                    <a:pt x="578" y="262"/>
                  </a:lnTo>
                  <a:lnTo>
                    <a:pt x="578" y="298"/>
                  </a:lnTo>
                  <a:lnTo>
                    <a:pt x="578" y="298"/>
                  </a:lnTo>
                  <a:lnTo>
                    <a:pt x="576" y="317"/>
                  </a:lnTo>
                  <a:lnTo>
                    <a:pt x="573" y="337"/>
                  </a:lnTo>
                  <a:lnTo>
                    <a:pt x="570" y="355"/>
                  </a:lnTo>
                  <a:lnTo>
                    <a:pt x="565" y="373"/>
                  </a:lnTo>
                  <a:lnTo>
                    <a:pt x="559" y="391"/>
                  </a:lnTo>
                  <a:lnTo>
                    <a:pt x="553" y="408"/>
                  </a:lnTo>
                  <a:lnTo>
                    <a:pt x="547" y="425"/>
                  </a:lnTo>
                  <a:lnTo>
                    <a:pt x="539" y="441"/>
                  </a:lnTo>
                  <a:lnTo>
                    <a:pt x="520" y="472"/>
                  </a:lnTo>
                  <a:lnTo>
                    <a:pt x="498" y="500"/>
                  </a:lnTo>
                  <a:lnTo>
                    <a:pt x="473" y="528"/>
                  </a:lnTo>
                  <a:lnTo>
                    <a:pt x="447" y="555"/>
                  </a:lnTo>
                  <a:lnTo>
                    <a:pt x="447" y="555"/>
                  </a:lnTo>
                  <a:lnTo>
                    <a:pt x="414" y="583"/>
                  </a:lnTo>
                  <a:lnTo>
                    <a:pt x="381" y="608"/>
                  </a:lnTo>
                  <a:lnTo>
                    <a:pt x="312" y="658"/>
                  </a:lnTo>
                  <a:lnTo>
                    <a:pt x="312" y="658"/>
                  </a:lnTo>
                  <a:lnTo>
                    <a:pt x="256" y="700"/>
                  </a:lnTo>
                  <a:lnTo>
                    <a:pt x="230" y="722"/>
                  </a:lnTo>
                  <a:lnTo>
                    <a:pt x="203" y="744"/>
                  </a:lnTo>
                  <a:lnTo>
                    <a:pt x="203" y="744"/>
                  </a:lnTo>
                  <a:lnTo>
                    <a:pt x="187" y="758"/>
                  </a:lnTo>
                  <a:lnTo>
                    <a:pt x="173" y="773"/>
                  </a:lnTo>
                  <a:lnTo>
                    <a:pt x="159" y="789"/>
                  </a:lnTo>
                  <a:lnTo>
                    <a:pt x="148" y="806"/>
                  </a:lnTo>
                  <a:lnTo>
                    <a:pt x="148" y="806"/>
                  </a:lnTo>
                  <a:lnTo>
                    <a:pt x="141" y="817"/>
                  </a:lnTo>
                  <a:lnTo>
                    <a:pt x="136" y="828"/>
                  </a:lnTo>
                  <a:lnTo>
                    <a:pt x="127" y="851"/>
                  </a:lnTo>
                  <a:lnTo>
                    <a:pt x="122" y="875"/>
                  </a:lnTo>
                  <a:lnTo>
                    <a:pt x="120" y="900"/>
                  </a:lnTo>
                  <a:lnTo>
                    <a:pt x="120" y="900"/>
                  </a:lnTo>
                  <a:lnTo>
                    <a:pt x="120" y="906"/>
                  </a:lnTo>
                  <a:lnTo>
                    <a:pt x="122" y="909"/>
                  </a:lnTo>
                  <a:lnTo>
                    <a:pt x="125" y="911"/>
                  </a:lnTo>
                  <a:lnTo>
                    <a:pt x="131" y="911"/>
                  </a:lnTo>
                  <a:lnTo>
                    <a:pt x="131" y="911"/>
                  </a:lnTo>
                  <a:lnTo>
                    <a:pt x="142" y="911"/>
                  </a:lnTo>
                  <a:lnTo>
                    <a:pt x="142" y="911"/>
                  </a:lnTo>
                  <a:lnTo>
                    <a:pt x="600" y="911"/>
                  </a:lnTo>
                  <a:lnTo>
                    <a:pt x="600" y="911"/>
                  </a:lnTo>
                  <a:lnTo>
                    <a:pt x="611" y="911"/>
                  </a:lnTo>
                  <a:lnTo>
                    <a:pt x="615" y="912"/>
                  </a:lnTo>
                  <a:lnTo>
                    <a:pt x="617" y="917"/>
                  </a:lnTo>
                  <a:lnTo>
                    <a:pt x="617" y="926"/>
                  </a:lnTo>
                  <a:lnTo>
                    <a:pt x="617" y="926"/>
                  </a:lnTo>
                  <a:lnTo>
                    <a:pt x="617" y="1000"/>
                  </a:lnTo>
                  <a:lnTo>
                    <a:pt x="617" y="1000"/>
                  </a:lnTo>
                  <a:lnTo>
                    <a:pt x="617" y="1008"/>
                  </a:lnTo>
                  <a:lnTo>
                    <a:pt x="617" y="1011"/>
                  </a:lnTo>
                  <a:lnTo>
                    <a:pt x="615" y="1014"/>
                  </a:lnTo>
                  <a:lnTo>
                    <a:pt x="615" y="101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sz="1765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Group 19"/>
          <p:cNvGrpSpPr/>
          <p:nvPr/>
        </p:nvGrpSpPr>
        <p:grpSpPr>
          <a:xfrm>
            <a:off x="6796368" y="4421889"/>
            <a:ext cx="5484989" cy="561211"/>
            <a:chOff x="6414463" y="4510061"/>
            <a:chExt cx="5594974" cy="572464"/>
          </a:xfrm>
        </p:grpSpPr>
        <p:sp>
          <p:nvSpPr>
            <p:cNvPr id="33" name="TextBox 32"/>
            <p:cNvSpPr txBox="1"/>
            <p:nvPr/>
          </p:nvSpPr>
          <p:spPr>
            <a:xfrm>
              <a:off x="6773543" y="4510061"/>
              <a:ext cx="5235894" cy="5724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89642" tIns="143428" rIns="44821" bIns="143428" rtlCol="0">
              <a:spAutoFit/>
            </a:bodyPr>
            <a:lstStyle/>
            <a:p>
              <a:pPr defTabSz="914367"/>
              <a:r>
                <a:rPr lang="ko-KR" altLang="en-US" sz="1765" dirty="0">
                  <a:solidFill>
                    <a:srgbClr val="FFFFFF"/>
                  </a:solidFill>
                </a:rPr>
                <a:t>모든 작은 문제의 결과물들을 결합</a:t>
              </a:r>
              <a:endParaRPr lang="en-US" sz="1765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56"/>
            <p:cNvSpPr>
              <a:spLocks/>
            </p:cNvSpPr>
            <p:nvPr/>
          </p:nvSpPr>
          <p:spPr bwMode="auto">
            <a:xfrm>
              <a:off x="6414463" y="4567608"/>
              <a:ext cx="255916" cy="457370"/>
            </a:xfrm>
            <a:custGeom>
              <a:avLst/>
              <a:gdLst>
                <a:gd name="T0" fmla="*/ 37 w 578"/>
                <a:gd name="T1" fmla="*/ 63 h 1033"/>
                <a:gd name="T2" fmla="*/ 47 w 578"/>
                <a:gd name="T3" fmla="*/ 53 h 1033"/>
                <a:gd name="T4" fmla="*/ 151 w 578"/>
                <a:gd name="T5" fmla="*/ 13 h 1033"/>
                <a:gd name="T6" fmla="*/ 222 w 578"/>
                <a:gd name="T7" fmla="*/ 2 h 1033"/>
                <a:gd name="T8" fmla="*/ 317 w 578"/>
                <a:gd name="T9" fmla="*/ 5 h 1033"/>
                <a:gd name="T10" fmla="*/ 398 w 578"/>
                <a:gd name="T11" fmla="*/ 25 h 1033"/>
                <a:gd name="T12" fmla="*/ 470 w 578"/>
                <a:gd name="T13" fmla="*/ 71 h 1033"/>
                <a:gd name="T14" fmla="*/ 525 w 578"/>
                <a:gd name="T15" fmla="*/ 149 h 1033"/>
                <a:gd name="T16" fmla="*/ 540 w 578"/>
                <a:gd name="T17" fmla="*/ 222 h 1033"/>
                <a:gd name="T18" fmla="*/ 532 w 578"/>
                <a:gd name="T19" fmla="*/ 318 h 1033"/>
                <a:gd name="T20" fmla="*/ 512 w 578"/>
                <a:gd name="T21" fmla="*/ 371 h 1033"/>
                <a:gd name="T22" fmla="*/ 451 w 578"/>
                <a:gd name="T23" fmla="*/ 441 h 1033"/>
                <a:gd name="T24" fmla="*/ 390 w 578"/>
                <a:gd name="T25" fmla="*/ 477 h 1033"/>
                <a:gd name="T26" fmla="*/ 353 w 578"/>
                <a:gd name="T27" fmla="*/ 496 h 1033"/>
                <a:gd name="T28" fmla="*/ 395 w 578"/>
                <a:gd name="T29" fmla="*/ 505 h 1033"/>
                <a:gd name="T30" fmla="*/ 468 w 578"/>
                <a:gd name="T31" fmla="*/ 536 h 1033"/>
                <a:gd name="T32" fmla="*/ 514 w 578"/>
                <a:gd name="T33" fmla="*/ 574 h 1033"/>
                <a:gd name="T34" fmla="*/ 557 w 578"/>
                <a:gd name="T35" fmla="*/ 636 h 1033"/>
                <a:gd name="T36" fmla="*/ 576 w 578"/>
                <a:gd name="T37" fmla="*/ 711 h 1033"/>
                <a:gd name="T38" fmla="*/ 572 w 578"/>
                <a:gd name="T39" fmla="*/ 800 h 1033"/>
                <a:gd name="T40" fmla="*/ 522 w 578"/>
                <a:gd name="T41" fmla="*/ 907 h 1033"/>
                <a:gd name="T42" fmla="*/ 475 w 578"/>
                <a:gd name="T43" fmla="*/ 957 h 1033"/>
                <a:gd name="T44" fmla="*/ 411 w 578"/>
                <a:gd name="T45" fmla="*/ 996 h 1033"/>
                <a:gd name="T46" fmla="*/ 353 w 578"/>
                <a:gd name="T47" fmla="*/ 1018 h 1033"/>
                <a:gd name="T48" fmla="*/ 259 w 578"/>
                <a:gd name="T49" fmla="*/ 1033 h 1033"/>
                <a:gd name="T50" fmla="*/ 189 w 578"/>
                <a:gd name="T51" fmla="*/ 1033 h 1033"/>
                <a:gd name="T52" fmla="*/ 64 w 578"/>
                <a:gd name="T53" fmla="*/ 1010 h 1033"/>
                <a:gd name="T54" fmla="*/ 8 w 578"/>
                <a:gd name="T55" fmla="*/ 985 h 1033"/>
                <a:gd name="T56" fmla="*/ 0 w 578"/>
                <a:gd name="T57" fmla="*/ 971 h 1033"/>
                <a:gd name="T58" fmla="*/ 3 w 578"/>
                <a:gd name="T59" fmla="*/ 858 h 1033"/>
                <a:gd name="T60" fmla="*/ 36 w 578"/>
                <a:gd name="T61" fmla="*/ 882 h 1033"/>
                <a:gd name="T62" fmla="*/ 156 w 578"/>
                <a:gd name="T63" fmla="*/ 928 h 1033"/>
                <a:gd name="T64" fmla="*/ 253 w 578"/>
                <a:gd name="T65" fmla="*/ 935 h 1033"/>
                <a:gd name="T66" fmla="*/ 342 w 578"/>
                <a:gd name="T67" fmla="*/ 916 h 1033"/>
                <a:gd name="T68" fmla="*/ 392 w 578"/>
                <a:gd name="T69" fmla="*/ 888 h 1033"/>
                <a:gd name="T70" fmla="*/ 428 w 578"/>
                <a:gd name="T71" fmla="*/ 850 h 1033"/>
                <a:gd name="T72" fmla="*/ 457 w 578"/>
                <a:gd name="T73" fmla="*/ 782 h 1033"/>
                <a:gd name="T74" fmla="*/ 456 w 578"/>
                <a:gd name="T75" fmla="*/ 702 h 1033"/>
                <a:gd name="T76" fmla="*/ 443 w 578"/>
                <a:gd name="T77" fmla="*/ 660 h 1033"/>
                <a:gd name="T78" fmla="*/ 401 w 578"/>
                <a:gd name="T79" fmla="*/ 607 h 1033"/>
                <a:gd name="T80" fmla="*/ 358 w 578"/>
                <a:gd name="T81" fmla="*/ 578 h 1033"/>
                <a:gd name="T82" fmla="*/ 244 w 578"/>
                <a:gd name="T83" fmla="*/ 552 h 1033"/>
                <a:gd name="T84" fmla="*/ 114 w 578"/>
                <a:gd name="T85" fmla="*/ 549 h 1033"/>
                <a:gd name="T86" fmla="*/ 100 w 578"/>
                <a:gd name="T87" fmla="*/ 544 h 1033"/>
                <a:gd name="T88" fmla="*/ 100 w 578"/>
                <a:gd name="T89" fmla="*/ 461 h 1033"/>
                <a:gd name="T90" fmla="*/ 111 w 578"/>
                <a:gd name="T91" fmla="*/ 450 h 1033"/>
                <a:gd name="T92" fmla="*/ 222 w 578"/>
                <a:gd name="T93" fmla="*/ 450 h 1033"/>
                <a:gd name="T94" fmla="*/ 311 w 578"/>
                <a:gd name="T95" fmla="*/ 432 h 1033"/>
                <a:gd name="T96" fmla="*/ 389 w 578"/>
                <a:gd name="T97" fmla="*/ 380 h 1033"/>
                <a:gd name="T98" fmla="*/ 423 w 578"/>
                <a:gd name="T99" fmla="*/ 291 h 1033"/>
                <a:gd name="T100" fmla="*/ 422 w 578"/>
                <a:gd name="T101" fmla="*/ 235 h 1033"/>
                <a:gd name="T102" fmla="*/ 406 w 578"/>
                <a:gd name="T103" fmla="*/ 178 h 1033"/>
                <a:gd name="T104" fmla="*/ 358 w 578"/>
                <a:gd name="T105" fmla="*/ 127 h 1033"/>
                <a:gd name="T106" fmla="*/ 297 w 578"/>
                <a:gd name="T107" fmla="*/ 103 h 1033"/>
                <a:gd name="T108" fmla="*/ 192 w 578"/>
                <a:gd name="T109" fmla="*/ 102 h 1033"/>
                <a:gd name="T110" fmla="*/ 115 w 578"/>
                <a:gd name="T111" fmla="*/ 124 h 1033"/>
                <a:gd name="T112" fmla="*/ 37 w 578"/>
                <a:gd name="T113" fmla="*/ 169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8" h="1033">
                  <a:moveTo>
                    <a:pt x="37" y="169"/>
                  </a:moveTo>
                  <a:lnTo>
                    <a:pt x="37" y="169"/>
                  </a:lnTo>
                  <a:lnTo>
                    <a:pt x="37" y="63"/>
                  </a:lnTo>
                  <a:lnTo>
                    <a:pt x="37" y="63"/>
                  </a:lnTo>
                  <a:lnTo>
                    <a:pt x="39" y="60"/>
                  </a:lnTo>
                  <a:lnTo>
                    <a:pt x="40" y="57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72" y="41"/>
                  </a:lnTo>
                  <a:lnTo>
                    <a:pt x="97" y="30"/>
                  </a:lnTo>
                  <a:lnTo>
                    <a:pt x="123" y="21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75" y="8"/>
                  </a:lnTo>
                  <a:lnTo>
                    <a:pt x="198" y="5"/>
                  </a:lnTo>
                  <a:lnTo>
                    <a:pt x="222" y="2"/>
                  </a:lnTo>
                  <a:lnTo>
                    <a:pt x="245" y="0"/>
                  </a:lnTo>
                  <a:lnTo>
                    <a:pt x="270" y="0"/>
                  </a:lnTo>
                  <a:lnTo>
                    <a:pt x="293" y="2"/>
                  </a:lnTo>
                  <a:lnTo>
                    <a:pt x="317" y="5"/>
                  </a:lnTo>
                  <a:lnTo>
                    <a:pt x="342" y="8"/>
                  </a:lnTo>
                  <a:lnTo>
                    <a:pt x="342" y="8"/>
                  </a:lnTo>
                  <a:lnTo>
                    <a:pt x="370" y="16"/>
                  </a:lnTo>
                  <a:lnTo>
                    <a:pt x="398" y="25"/>
                  </a:lnTo>
                  <a:lnTo>
                    <a:pt x="425" y="39"/>
                  </a:lnTo>
                  <a:lnTo>
                    <a:pt x="450" y="55"/>
                  </a:lnTo>
                  <a:lnTo>
                    <a:pt x="450" y="55"/>
                  </a:lnTo>
                  <a:lnTo>
                    <a:pt x="470" y="71"/>
                  </a:lnTo>
                  <a:lnTo>
                    <a:pt x="487" y="89"/>
                  </a:lnTo>
                  <a:lnTo>
                    <a:pt x="503" y="108"/>
                  </a:lnTo>
                  <a:lnTo>
                    <a:pt x="515" y="128"/>
                  </a:lnTo>
                  <a:lnTo>
                    <a:pt x="525" y="149"/>
                  </a:lnTo>
                  <a:lnTo>
                    <a:pt x="532" y="172"/>
                  </a:lnTo>
                  <a:lnTo>
                    <a:pt x="539" y="196"/>
                  </a:lnTo>
                  <a:lnTo>
                    <a:pt x="540" y="222"/>
                  </a:lnTo>
                  <a:lnTo>
                    <a:pt x="540" y="222"/>
                  </a:lnTo>
                  <a:lnTo>
                    <a:pt x="542" y="253"/>
                  </a:lnTo>
                  <a:lnTo>
                    <a:pt x="539" y="286"/>
                  </a:lnTo>
                  <a:lnTo>
                    <a:pt x="536" y="302"/>
                  </a:lnTo>
                  <a:lnTo>
                    <a:pt x="532" y="318"/>
                  </a:lnTo>
                  <a:lnTo>
                    <a:pt x="528" y="333"/>
                  </a:lnTo>
                  <a:lnTo>
                    <a:pt x="523" y="349"/>
                  </a:lnTo>
                  <a:lnTo>
                    <a:pt x="523" y="349"/>
                  </a:lnTo>
                  <a:lnTo>
                    <a:pt x="512" y="371"/>
                  </a:lnTo>
                  <a:lnTo>
                    <a:pt x="500" y="391"/>
                  </a:lnTo>
                  <a:lnTo>
                    <a:pt x="486" y="410"/>
                  </a:lnTo>
                  <a:lnTo>
                    <a:pt x="470" y="425"/>
                  </a:lnTo>
                  <a:lnTo>
                    <a:pt x="451" y="441"/>
                  </a:lnTo>
                  <a:lnTo>
                    <a:pt x="432" y="455"/>
                  </a:lnTo>
                  <a:lnTo>
                    <a:pt x="412" y="466"/>
                  </a:lnTo>
                  <a:lnTo>
                    <a:pt x="390" y="477"/>
                  </a:lnTo>
                  <a:lnTo>
                    <a:pt x="390" y="477"/>
                  </a:lnTo>
                  <a:lnTo>
                    <a:pt x="367" y="485"/>
                  </a:lnTo>
                  <a:lnTo>
                    <a:pt x="343" y="494"/>
                  </a:lnTo>
                  <a:lnTo>
                    <a:pt x="343" y="494"/>
                  </a:lnTo>
                  <a:lnTo>
                    <a:pt x="353" y="496"/>
                  </a:lnTo>
                  <a:lnTo>
                    <a:pt x="361" y="497"/>
                  </a:lnTo>
                  <a:lnTo>
                    <a:pt x="376" y="500"/>
                  </a:lnTo>
                  <a:lnTo>
                    <a:pt x="376" y="500"/>
                  </a:lnTo>
                  <a:lnTo>
                    <a:pt x="395" y="505"/>
                  </a:lnTo>
                  <a:lnTo>
                    <a:pt x="415" y="511"/>
                  </a:lnTo>
                  <a:lnTo>
                    <a:pt x="432" y="518"/>
                  </a:lnTo>
                  <a:lnTo>
                    <a:pt x="451" y="527"/>
                  </a:lnTo>
                  <a:lnTo>
                    <a:pt x="468" y="536"/>
                  </a:lnTo>
                  <a:lnTo>
                    <a:pt x="484" y="547"/>
                  </a:lnTo>
                  <a:lnTo>
                    <a:pt x="500" y="560"/>
                  </a:lnTo>
                  <a:lnTo>
                    <a:pt x="514" y="574"/>
                  </a:lnTo>
                  <a:lnTo>
                    <a:pt x="514" y="574"/>
                  </a:lnTo>
                  <a:lnTo>
                    <a:pt x="528" y="588"/>
                  </a:lnTo>
                  <a:lnTo>
                    <a:pt x="539" y="603"/>
                  </a:lnTo>
                  <a:lnTo>
                    <a:pt x="550" y="619"/>
                  </a:lnTo>
                  <a:lnTo>
                    <a:pt x="557" y="636"/>
                  </a:lnTo>
                  <a:lnTo>
                    <a:pt x="565" y="653"/>
                  </a:lnTo>
                  <a:lnTo>
                    <a:pt x="570" y="672"/>
                  </a:lnTo>
                  <a:lnTo>
                    <a:pt x="575" y="691"/>
                  </a:lnTo>
                  <a:lnTo>
                    <a:pt x="576" y="711"/>
                  </a:lnTo>
                  <a:lnTo>
                    <a:pt x="576" y="711"/>
                  </a:lnTo>
                  <a:lnTo>
                    <a:pt x="578" y="743"/>
                  </a:lnTo>
                  <a:lnTo>
                    <a:pt x="576" y="772"/>
                  </a:lnTo>
                  <a:lnTo>
                    <a:pt x="572" y="800"/>
                  </a:lnTo>
                  <a:lnTo>
                    <a:pt x="564" y="828"/>
                  </a:lnTo>
                  <a:lnTo>
                    <a:pt x="553" y="857"/>
                  </a:lnTo>
                  <a:lnTo>
                    <a:pt x="539" y="882"/>
                  </a:lnTo>
                  <a:lnTo>
                    <a:pt x="522" y="907"/>
                  </a:lnTo>
                  <a:lnTo>
                    <a:pt x="503" y="932"/>
                  </a:lnTo>
                  <a:lnTo>
                    <a:pt x="503" y="932"/>
                  </a:lnTo>
                  <a:lnTo>
                    <a:pt x="489" y="944"/>
                  </a:lnTo>
                  <a:lnTo>
                    <a:pt x="475" y="957"/>
                  </a:lnTo>
                  <a:lnTo>
                    <a:pt x="459" y="968"/>
                  </a:lnTo>
                  <a:lnTo>
                    <a:pt x="443" y="978"/>
                  </a:lnTo>
                  <a:lnTo>
                    <a:pt x="428" y="988"/>
                  </a:lnTo>
                  <a:lnTo>
                    <a:pt x="411" y="996"/>
                  </a:lnTo>
                  <a:lnTo>
                    <a:pt x="393" y="1003"/>
                  </a:lnTo>
                  <a:lnTo>
                    <a:pt x="375" y="1010"/>
                  </a:lnTo>
                  <a:lnTo>
                    <a:pt x="375" y="1010"/>
                  </a:lnTo>
                  <a:lnTo>
                    <a:pt x="353" y="1018"/>
                  </a:lnTo>
                  <a:lnTo>
                    <a:pt x="329" y="1024"/>
                  </a:lnTo>
                  <a:lnTo>
                    <a:pt x="306" y="1027"/>
                  </a:lnTo>
                  <a:lnTo>
                    <a:pt x="283" y="1030"/>
                  </a:lnTo>
                  <a:lnTo>
                    <a:pt x="259" y="1033"/>
                  </a:lnTo>
                  <a:lnTo>
                    <a:pt x="236" y="1033"/>
                  </a:lnTo>
                  <a:lnTo>
                    <a:pt x="212" y="1033"/>
                  </a:lnTo>
                  <a:lnTo>
                    <a:pt x="189" y="1033"/>
                  </a:lnTo>
                  <a:lnTo>
                    <a:pt x="189" y="1033"/>
                  </a:lnTo>
                  <a:lnTo>
                    <a:pt x="158" y="1030"/>
                  </a:lnTo>
                  <a:lnTo>
                    <a:pt x="126" y="1025"/>
                  </a:lnTo>
                  <a:lnTo>
                    <a:pt x="95" y="1019"/>
                  </a:lnTo>
                  <a:lnTo>
                    <a:pt x="64" y="1010"/>
                  </a:lnTo>
                  <a:lnTo>
                    <a:pt x="64" y="1010"/>
                  </a:lnTo>
                  <a:lnTo>
                    <a:pt x="36" y="999"/>
                  </a:lnTo>
                  <a:lnTo>
                    <a:pt x="8" y="985"/>
                  </a:lnTo>
                  <a:lnTo>
                    <a:pt x="8" y="985"/>
                  </a:lnTo>
                  <a:lnTo>
                    <a:pt x="3" y="982"/>
                  </a:lnTo>
                  <a:lnTo>
                    <a:pt x="1" y="978"/>
                  </a:lnTo>
                  <a:lnTo>
                    <a:pt x="0" y="975"/>
                  </a:lnTo>
                  <a:lnTo>
                    <a:pt x="0" y="971"/>
                  </a:lnTo>
                  <a:lnTo>
                    <a:pt x="0" y="971"/>
                  </a:lnTo>
                  <a:lnTo>
                    <a:pt x="0" y="860"/>
                  </a:lnTo>
                  <a:lnTo>
                    <a:pt x="0" y="860"/>
                  </a:lnTo>
                  <a:lnTo>
                    <a:pt x="3" y="858"/>
                  </a:lnTo>
                  <a:lnTo>
                    <a:pt x="5" y="860"/>
                  </a:lnTo>
                  <a:lnTo>
                    <a:pt x="9" y="863"/>
                  </a:lnTo>
                  <a:lnTo>
                    <a:pt x="9" y="863"/>
                  </a:lnTo>
                  <a:lnTo>
                    <a:pt x="36" y="882"/>
                  </a:lnTo>
                  <a:lnTo>
                    <a:pt x="65" y="897"/>
                  </a:lnTo>
                  <a:lnTo>
                    <a:pt x="94" y="910"/>
                  </a:lnTo>
                  <a:lnTo>
                    <a:pt x="125" y="921"/>
                  </a:lnTo>
                  <a:lnTo>
                    <a:pt x="156" y="928"/>
                  </a:lnTo>
                  <a:lnTo>
                    <a:pt x="187" y="933"/>
                  </a:lnTo>
                  <a:lnTo>
                    <a:pt x="220" y="935"/>
                  </a:lnTo>
                  <a:lnTo>
                    <a:pt x="253" y="935"/>
                  </a:lnTo>
                  <a:lnTo>
                    <a:pt x="253" y="935"/>
                  </a:lnTo>
                  <a:lnTo>
                    <a:pt x="283" y="932"/>
                  </a:lnTo>
                  <a:lnTo>
                    <a:pt x="312" y="925"/>
                  </a:lnTo>
                  <a:lnTo>
                    <a:pt x="328" y="922"/>
                  </a:lnTo>
                  <a:lnTo>
                    <a:pt x="342" y="916"/>
                  </a:lnTo>
                  <a:lnTo>
                    <a:pt x="356" y="910"/>
                  </a:lnTo>
                  <a:lnTo>
                    <a:pt x="368" y="903"/>
                  </a:lnTo>
                  <a:lnTo>
                    <a:pt x="368" y="903"/>
                  </a:lnTo>
                  <a:lnTo>
                    <a:pt x="392" y="888"/>
                  </a:lnTo>
                  <a:lnTo>
                    <a:pt x="403" y="878"/>
                  </a:lnTo>
                  <a:lnTo>
                    <a:pt x="412" y="871"/>
                  </a:lnTo>
                  <a:lnTo>
                    <a:pt x="420" y="861"/>
                  </a:lnTo>
                  <a:lnTo>
                    <a:pt x="428" y="850"/>
                  </a:lnTo>
                  <a:lnTo>
                    <a:pt x="436" y="841"/>
                  </a:lnTo>
                  <a:lnTo>
                    <a:pt x="442" y="830"/>
                  </a:lnTo>
                  <a:lnTo>
                    <a:pt x="451" y="807"/>
                  </a:lnTo>
                  <a:lnTo>
                    <a:pt x="457" y="782"/>
                  </a:lnTo>
                  <a:lnTo>
                    <a:pt x="459" y="755"/>
                  </a:lnTo>
                  <a:lnTo>
                    <a:pt x="459" y="727"/>
                  </a:lnTo>
                  <a:lnTo>
                    <a:pt x="459" y="727"/>
                  </a:lnTo>
                  <a:lnTo>
                    <a:pt x="456" y="702"/>
                  </a:lnTo>
                  <a:lnTo>
                    <a:pt x="454" y="689"/>
                  </a:lnTo>
                  <a:lnTo>
                    <a:pt x="450" y="677"/>
                  </a:lnTo>
                  <a:lnTo>
                    <a:pt x="450" y="677"/>
                  </a:lnTo>
                  <a:lnTo>
                    <a:pt x="443" y="660"/>
                  </a:lnTo>
                  <a:lnTo>
                    <a:pt x="436" y="644"/>
                  </a:lnTo>
                  <a:lnTo>
                    <a:pt x="425" y="630"/>
                  </a:lnTo>
                  <a:lnTo>
                    <a:pt x="414" y="618"/>
                  </a:lnTo>
                  <a:lnTo>
                    <a:pt x="401" y="607"/>
                  </a:lnTo>
                  <a:lnTo>
                    <a:pt x="389" y="596"/>
                  </a:lnTo>
                  <a:lnTo>
                    <a:pt x="373" y="586"/>
                  </a:lnTo>
                  <a:lnTo>
                    <a:pt x="358" y="578"/>
                  </a:lnTo>
                  <a:lnTo>
                    <a:pt x="358" y="578"/>
                  </a:lnTo>
                  <a:lnTo>
                    <a:pt x="331" y="569"/>
                  </a:lnTo>
                  <a:lnTo>
                    <a:pt x="301" y="561"/>
                  </a:lnTo>
                  <a:lnTo>
                    <a:pt x="273" y="555"/>
                  </a:lnTo>
                  <a:lnTo>
                    <a:pt x="244" y="552"/>
                  </a:lnTo>
                  <a:lnTo>
                    <a:pt x="244" y="552"/>
                  </a:lnTo>
                  <a:lnTo>
                    <a:pt x="211" y="549"/>
                  </a:lnTo>
                  <a:lnTo>
                    <a:pt x="178" y="549"/>
                  </a:lnTo>
                  <a:lnTo>
                    <a:pt x="114" y="549"/>
                  </a:lnTo>
                  <a:lnTo>
                    <a:pt x="114" y="549"/>
                  </a:lnTo>
                  <a:lnTo>
                    <a:pt x="104" y="549"/>
                  </a:lnTo>
                  <a:lnTo>
                    <a:pt x="101" y="547"/>
                  </a:lnTo>
                  <a:lnTo>
                    <a:pt x="100" y="544"/>
                  </a:lnTo>
                  <a:lnTo>
                    <a:pt x="100" y="535"/>
                  </a:lnTo>
                  <a:lnTo>
                    <a:pt x="100" y="535"/>
                  </a:lnTo>
                  <a:lnTo>
                    <a:pt x="100" y="461"/>
                  </a:lnTo>
                  <a:lnTo>
                    <a:pt x="100" y="461"/>
                  </a:lnTo>
                  <a:lnTo>
                    <a:pt x="100" y="455"/>
                  </a:lnTo>
                  <a:lnTo>
                    <a:pt x="101" y="452"/>
                  </a:lnTo>
                  <a:lnTo>
                    <a:pt x="104" y="452"/>
                  </a:lnTo>
                  <a:lnTo>
                    <a:pt x="111" y="450"/>
                  </a:lnTo>
                  <a:lnTo>
                    <a:pt x="111" y="450"/>
                  </a:lnTo>
                  <a:lnTo>
                    <a:pt x="192" y="450"/>
                  </a:lnTo>
                  <a:lnTo>
                    <a:pt x="192" y="450"/>
                  </a:lnTo>
                  <a:lnTo>
                    <a:pt x="222" y="450"/>
                  </a:lnTo>
                  <a:lnTo>
                    <a:pt x="251" y="446"/>
                  </a:lnTo>
                  <a:lnTo>
                    <a:pt x="281" y="441"/>
                  </a:lnTo>
                  <a:lnTo>
                    <a:pt x="311" y="432"/>
                  </a:lnTo>
                  <a:lnTo>
                    <a:pt x="311" y="432"/>
                  </a:lnTo>
                  <a:lnTo>
                    <a:pt x="334" y="422"/>
                  </a:lnTo>
                  <a:lnTo>
                    <a:pt x="354" y="410"/>
                  </a:lnTo>
                  <a:lnTo>
                    <a:pt x="373" y="396"/>
                  </a:lnTo>
                  <a:lnTo>
                    <a:pt x="389" y="380"/>
                  </a:lnTo>
                  <a:lnTo>
                    <a:pt x="401" y="361"/>
                  </a:lnTo>
                  <a:lnTo>
                    <a:pt x="412" y="341"/>
                  </a:lnTo>
                  <a:lnTo>
                    <a:pt x="418" y="318"/>
                  </a:lnTo>
                  <a:lnTo>
                    <a:pt x="423" y="291"/>
                  </a:lnTo>
                  <a:lnTo>
                    <a:pt x="423" y="291"/>
                  </a:lnTo>
                  <a:lnTo>
                    <a:pt x="425" y="272"/>
                  </a:lnTo>
                  <a:lnTo>
                    <a:pt x="423" y="253"/>
                  </a:lnTo>
                  <a:lnTo>
                    <a:pt x="422" y="235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14" y="197"/>
                  </a:lnTo>
                  <a:lnTo>
                    <a:pt x="406" y="178"/>
                  </a:lnTo>
                  <a:lnTo>
                    <a:pt x="397" y="163"/>
                  </a:lnTo>
                  <a:lnTo>
                    <a:pt x="386" y="149"/>
                  </a:lnTo>
                  <a:lnTo>
                    <a:pt x="373" y="136"/>
                  </a:lnTo>
                  <a:lnTo>
                    <a:pt x="358" y="127"/>
                  </a:lnTo>
                  <a:lnTo>
                    <a:pt x="342" y="118"/>
                  </a:lnTo>
                  <a:lnTo>
                    <a:pt x="323" y="111"/>
                  </a:lnTo>
                  <a:lnTo>
                    <a:pt x="323" y="111"/>
                  </a:lnTo>
                  <a:lnTo>
                    <a:pt x="297" y="103"/>
                  </a:lnTo>
                  <a:lnTo>
                    <a:pt x="270" y="100"/>
                  </a:lnTo>
                  <a:lnTo>
                    <a:pt x="244" y="99"/>
                  </a:lnTo>
                  <a:lnTo>
                    <a:pt x="217" y="99"/>
                  </a:lnTo>
                  <a:lnTo>
                    <a:pt x="192" y="102"/>
                  </a:lnTo>
                  <a:lnTo>
                    <a:pt x="165" y="107"/>
                  </a:lnTo>
                  <a:lnTo>
                    <a:pt x="140" y="11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95" y="133"/>
                  </a:lnTo>
                  <a:lnTo>
                    <a:pt x="76" y="144"/>
                  </a:lnTo>
                  <a:lnTo>
                    <a:pt x="58" y="157"/>
                  </a:lnTo>
                  <a:lnTo>
                    <a:pt x="37" y="169"/>
                  </a:lnTo>
                  <a:lnTo>
                    <a:pt x="37" y="169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sz="1765">
                <a:solidFill>
                  <a:srgbClr val="FFFFFF"/>
                </a:solidFill>
              </a:endParaRPr>
            </a:p>
          </p:txBody>
        </p:sp>
      </p:grpSp>
      <p:grpSp>
        <p:nvGrpSpPr>
          <p:cNvPr id="35" name="Group 6"/>
          <p:cNvGrpSpPr/>
          <p:nvPr/>
        </p:nvGrpSpPr>
        <p:grpSpPr>
          <a:xfrm>
            <a:off x="7148390" y="1905226"/>
            <a:ext cx="4080758" cy="543108"/>
            <a:chOff x="7200580" y="2009338"/>
            <a:chExt cx="4162586" cy="553998"/>
          </a:xfrm>
        </p:grpSpPr>
        <p:sp>
          <p:nvSpPr>
            <p:cNvPr id="36" name="Rectangle 3"/>
            <p:cNvSpPr/>
            <p:nvPr/>
          </p:nvSpPr>
          <p:spPr bwMode="auto">
            <a:xfrm>
              <a:off x="7200580" y="2140594"/>
              <a:ext cx="746306" cy="42274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37" name="Right Arrow 7"/>
            <p:cNvSpPr/>
            <p:nvPr/>
          </p:nvSpPr>
          <p:spPr bwMode="auto">
            <a:xfrm>
              <a:off x="8049228" y="2259553"/>
              <a:ext cx="616585" cy="203935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38" name="Rectangle 8"/>
            <p:cNvSpPr/>
            <p:nvPr/>
          </p:nvSpPr>
          <p:spPr bwMode="auto">
            <a:xfrm>
              <a:off x="8768155" y="2247466"/>
              <a:ext cx="429805" cy="22810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39" name="Rectangle 10"/>
            <p:cNvSpPr/>
            <p:nvPr/>
          </p:nvSpPr>
          <p:spPr bwMode="auto">
            <a:xfrm>
              <a:off x="9300302" y="2247466"/>
              <a:ext cx="429805" cy="22810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40" name="Rectangle 11"/>
            <p:cNvSpPr/>
            <p:nvPr/>
          </p:nvSpPr>
          <p:spPr bwMode="auto">
            <a:xfrm>
              <a:off x="9832450" y="2247466"/>
              <a:ext cx="429805" cy="22810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solidFill>
                  <a:srgbClr val="FFFFFF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0348465" y="2009338"/>
              <a:ext cx="1014701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367"/>
              <a:r>
                <a:rPr lang="en-US" sz="3529" dirty="0">
                  <a:solidFill>
                    <a:srgbClr val="68217A"/>
                  </a:solidFill>
                </a:rPr>
                <a:t>………</a:t>
              </a:r>
            </a:p>
          </p:txBody>
        </p:sp>
      </p:grpSp>
      <p:grpSp>
        <p:nvGrpSpPr>
          <p:cNvPr id="42" name="Group 61"/>
          <p:cNvGrpSpPr/>
          <p:nvPr/>
        </p:nvGrpSpPr>
        <p:grpSpPr>
          <a:xfrm>
            <a:off x="6896636" y="1278915"/>
            <a:ext cx="5384721" cy="561211"/>
            <a:chOff x="6943778" y="1370469"/>
            <a:chExt cx="5492696" cy="572464"/>
          </a:xfrm>
        </p:grpSpPr>
        <p:sp>
          <p:nvSpPr>
            <p:cNvPr id="43" name="TextBox 42"/>
            <p:cNvSpPr txBox="1"/>
            <p:nvPr/>
          </p:nvSpPr>
          <p:spPr>
            <a:xfrm>
              <a:off x="7200579" y="1370469"/>
              <a:ext cx="5235895" cy="57246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lIns="89642" tIns="143428" rIns="44821" bIns="143428" rtlCol="0">
              <a:spAutoFit/>
            </a:bodyPr>
            <a:lstStyle/>
            <a:p>
              <a:pPr marL="230321" indent="-230321" defTabSz="914367"/>
              <a:r>
                <a:rPr lang="ko-KR" altLang="en-US" sz="1765" dirty="0">
                  <a:solidFill>
                    <a:srgbClr val="FFFFFF"/>
                  </a:solidFill>
                </a:rPr>
                <a:t>큰</a:t>
              </a:r>
              <a:r>
                <a:rPr lang="en-US" sz="1765" dirty="0">
                  <a:solidFill>
                    <a:srgbClr val="FFFFFF"/>
                  </a:solidFill>
                </a:rPr>
                <a:t> </a:t>
              </a:r>
              <a:r>
                <a:rPr lang="ko-KR" altLang="en-US" sz="1765">
                  <a:solidFill>
                    <a:srgbClr val="FFFFFF"/>
                  </a:solidFill>
                </a:rPr>
                <a:t>문제를 작은 문제로 쪼갬</a:t>
              </a:r>
              <a:endParaRPr lang="en-US" sz="1765" dirty="0">
                <a:solidFill>
                  <a:srgbClr val="FFFFFF"/>
                </a:solidFill>
              </a:endParaRPr>
            </a:p>
          </p:txBody>
        </p:sp>
        <p:sp>
          <p:nvSpPr>
            <p:cNvPr id="44" name="Freeform 57"/>
            <p:cNvSpPr>
              <a:spLocks/>
            </p:cNvSpPr>
            <p:nvPr/>
          </p:nvSpPr>
          <p:spPr bwMode="auto">
            <a:xfrm>
              <a:off x="6943778" y="1430894"/>
              <a:ext cx="153638" cy="451614"/>
            </a:xfrm>
            <a:custGeom>
              <a:avLst/>
              <a:gdLst>
                <a:gd name="T0" fmla="*/ 231 w 347"/>
                <a:gd name="T1" fmla="*/ 161 h 1020"/>
                <a:gd name="T2" fmla="*/ 178 w 347"/>
                <a:gd name="T3" fmla="*/ 198 h 1020"/>
                <a:gd name="T4" fmla="*/ 122 w 347"/>
                <a:gd name="T5" fmla="*/ 229 h 1020"/>
                <a:gd name="T6" fmla="*/ 64 w 347"/>
                <a:gd name="T7" fmla="*/ 256 h 1020"/>
                <a:gd name="T8" fmla="*/ 3 w 347"/>
                <a:gd name="T9" fmla="*/ 276 h 1020"/>
                <a:gd name="T10" fmla="*/ 2 w 347"/>
                <a:gd name="T11" fmla="*/ 273 h 1020"/>
                <a:gd name="T12" fmla="*/ 0 w 347"/>
                <a:gd name="T13" fmla="*/ 264 h 1020"/>
                <a:gd name="T14" fmla="*/ 0 w 347"/>
                <a:gd name="T15" fmla="*/ 172 h 1020"/>
                <a:gd name="T16" fmla="*/ 0 w 347"/>
                <a:gd name="T17" fmla="*/ 165 h 1020"/>
                <a:gd name="T18" fmla="*/ 7 w 347"/>
                <a:gd name="T19" fmla="*/ 159 h 1020"/>
                <a:gd name="T20" fmla="*/ 11 w 347"/>
                <a:gd name="T21" fmla="*/ 157 h 1020"/>
                <a:gd name="T22" fmla="*/ 78 w 347"/>
                <a:gd name="T23" fmla="*/ 132 h 1020"/>
                <a:gd name="T24" fmla="*/ 144 w 347"/>
                <a:gd name="T25" fmla="*/ 103 h 1020"/>
                <a:gd name="T26" fmla="*/ 205 w 347"/>
                <a:gd name="T27" fmla="*/ 68 h 1020"/>
                <a:gd name="T28" fmla="*/ 266 w 347"/>
                <a:gd name="T29" fmla="*/ 29 h 1020"/>
                <a:gd name="T30" fmla="*/ 296 w 347"/>
                <a:gd name="T31" fmla="*/ 4 h 1020"/>
                <a:gd name="T32" fmla="*/ 302 w 347"/>
                <a:gd name="T33" fmla="*/ 1 h 1020"/>
                <a:gd name="T34" fmla="*/ 308 w 347"/>
                <a:gd name="T35" fmla="*/ 0 h 1020"/>
                <a:gd name="T36" fmla="*/ 339 w 347"/>
                <a:gd name="T37" fmla="*/ 0 h 1020"/>
                <a:gd name="T38" fmla="*/ 346 w 347"/>
                <a:gd name="T39" fmla="*/ 1 h 1020"/>
                <a:gd name="T40" fmla="*/ 347 w 347"/>
                <a:gd name="T41" fmla="*/ 7 h 1020"/>
                <a:gd name="T42" fmla="*/ 347 w 347"/>
                <a:gd name="T43" fmla="*/ 18 h 1020"/>
                <a:gd name="T44" fmla="*/ 347 w 347"/>
                <a:gd name="T45" fmla="*/ 1003 h 1020"/>
                <a:gd name="T46" fmla="*/ 347 w 347"/>
                <a:gd name="T47" fmla="*/ 1012 h 1020"/>
                <a:gd name="T48" fmla="*/ 344 w 347"/>
                <a:gd name="T49" fmla="*/ 1018 h 1020"/>
                <a:gd name="T50" fmla="*/ 339 w 347"/>
                <a:gd name="T51" fmla="*/ 1020 h 1020"/>
                <a:gd name="T52" fmla="*/ 328 w 347"/>
                <a:gd name="T53" fmla="*/ 1020 h 1020"/>
                <a:gd name="T54" fmla="*/ 242 w 347"/>
                <a:gd name="T55" fmla="*/ 1020 h 1020"/>
                <a:gd name="T56" fmla="*/ 233 w 347"/>
                <a:gd name="T57" fmla="*/ 1018 h 1020"/>
                <a:gd name="T58" fmla="*/ 231 w 347"/>
                <a:gd name="T59" fmla="*/ 1011 h 1020"/>
                <a:gd name="T60" fmla="*/ 231 w 347"/>
                <a:gd name="T61" fmla="*/ 1000 h 1020"/>
                <a:gd name="T62" fmla="*/ 231 w 347"/>
                <a:gd name="T63" fmla="*/ 181 h 1020"/>
                <a:gd name="T64" fmla="*/ 231 w 347"/>
                <a:gd name="T65" fmla="*/ 161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7" h="1020">
                  <a:moveTo>
                    <a:pt x="231" y="161"/>
                  </a:moveTo>
                  <a:lnTo>
                    <a:pt x="231" y="161"/>
                  </a:lnTo>
                  <a:lnTo>
                    <a:pt x="205" y="181"/>
                  </a:lnTo>
                  <a:lnTo>
                    <a:pt x="178" y="198"/>
                  </a:lnTo>
                  <a:lnTo>
                    <a:pt x="150" y="215"/>
                  </a:lnTo>
                  <a:lnTo>
                    <a:pt x="122" y="229"/>
                  </a:lnTo>
                  <a:lnTo>
                    <a:pt x="92" y="243"/>
                  </a:lnTo>
                  <a:lnTo>
                    <a:pt x="64" y="256"/>
                  </a:lnTo>
                  <a:lnTo>
                    <a:pt x="33" y="267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2" y="273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65"/>
                  </a:lnTo>
                  <a:lnTo>
                    <a:pt x="3" y="162"/>
                  </a:lnTo>
                  <a:lnTo>
                    <a:pt x="7" y="159"/>
                  </a:lnTo>
                  <a:lnTo>
                    <a:pt x="11" y="157"/>
                  </a:lnTo>
                  <a:lnTo>
                    <a:pt x="11" y="157"/>
                  </a:lnTo>
                  <a:lnTo>
                    <a:pt x="46" y="145"/>
                  </a:lnTo>
                  <a:lnTo>
                    <a:pt x="78" y="132"/>
                  </a:lnTo>
                  <a:lnTo>
                    <a:pt x="111" y="118"/>
                  </a:lnTo>
                  <a:lnTo>
                    <a:pt x="144" y="103"/>
                  </a:lnTo>
                  <a:lnTo>
                    <a:pt x="175" y="86"/>
                  </a:lnTo>
                  <a:lnTo>
                    <a:pt x="205" y="68"/>
                  </a:lnTo>
                  <a:lnTo>
                    <a:pt x="236" y="50"/>
                  </a:lnTo>
                  <a:lnTo>
                    <a:pt x="266" y="29"/>
                  </a:lnTo>
                  <a:lnTo>
                    <a:pt x="266" y="29"/>
                  </a:lnTo>
                  <a:lnTo>
                    <a:pt x="296" y="4"/>
                  </a:lnTo>
                  <a:lnTo>
                    <a:pt x="296" y="4"/>
                  </a:lnTo>
                  <a:lnTo>
                    <a:pt x="302" y="1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44" y="0"/>
                  </a:lnTo>
                  <a:lnTo>
                    <a:pt x="346" y="1"/>
                  </a:lnTo>
                  <a:lnTo>
                    <a:pt x="347" y="4"/>
                  </a:lnTo>
                  <a:lnTo>
                    <a:pt x="347" y="7"/>
                  </a:lnTo>
                  <a:lnTo>
                    <a:pt x="347" y="7"/>
                  </a:lnTo>
                  <a:lnTo>
                    <a:pt x="347" y="18"/>
                  </a:lnTo>
                  <a:lnTo>
                    <a:pt x="347" y="18"/>
                  </a:lnTo>
                  <a:lnTo>
                    <a:pt x="347" y="1003"/>
                  </a:lnTo>
                  <a:lnTo>
                    <a:pt x="347" y="1003"/>
                  </a:lnTo>
                  <a:lnTo>
                    <a:pt x="347" y="1012"/>
                  </a:lnTo>
                  <a:lnTo>
                    <a:pt x="346" y="1017"/>
                  </a:lnTo>
                  <a:lnTo>
                    <a:pt x="344" y="1018"/>
                  </a:lnTo>
                  <a:lnTo>
                    <a:pt x="342" y="1020"/>
                  </a:lnTo>
                  <a:lnTo>
                    <a:pt x="339" y="1020"/>
                  </a:lnTo>
                  <a:lnTo>
                    <a:pt x="328" y="1020"/>
                  </a:lnTo>
                  <a:lnTo>
                    <a:pt x="328" y="1020"/>
                  </a:lnTo>
                  <a:lnTo>
                    <a:pt x="242" y="1020"/>
                  </a:lnTo>
                  <a:lnTo>
                    <a:pt x="242" y="1020"/>
                  </a:lnTo>
                  <a:lnTo>
                    <a:pt x="236" y="1020"/>
                  </a:lnTo>
                  <a:lnTo>
                    <a:pt x="233" y="1018"/>
                  </a:lnTo>
                  <a:lnTo>
                    <a:pt x="231" y="1015"/>
                  </a:lnTo>
                  <a:lnTo>
                    <a:pt x="231" y="1011"/>
                  </a:lnTo>
                  <a:lnTo>
                    <a:pt x="231" y="1011"/>
                  </a:lnTo>
                  <a:lnTo>
                    <a:pt x="231" y="1000"/>
                  </a:lnTo>
                  <a:lnTo>
                    <a:pt x="231" y="1000"/>
                  </a:lnTo>
                  <a:lnTo>
                    <a:pt x="231" y="181"/>
                  </a:lnTo>
                  <a:lnTo>
                    <a:pt x="231" y="18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sz="1765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6645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MapReduce </a:t>
            </a:r>
            <a:r>
              <a:rPr lang="ko-KR" altLang="en-US"/>
              <a:t>프로그래밍 패러다임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>
          <a:xfrm>
            <a:off x="274638" y="1319769"/>
            <a:ext cx="6773433" cy="5553705"/>
          </a:xfrm>
        </p:spPr>
        <p:txBody>
          <a:bodyPr>
            <a:normAutofit/>
          </a:bodyPr>
          <a:lstStyle/>
          <a:p>
            <a:r>
              <a:rPr lang="en-US" altLang="ko-KR" sz="2800" b="1" dirty="0"/>
              <a:t>MapReduce API: 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원하는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 MapReduce 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응용 프로그램을 프로그래밍하는데 사용</a:t>
            </a:r>
            <a:endParaRPr lang="en-US" altLang="ko-KR" sz="2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altLang="ko-KR" sz="2800" b="1" dirty="0"/>
              <a:t>MapReduce framework: 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map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 단계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, 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정렬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/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셔플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/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병합 등과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같은 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MapReduce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의 다양한 단계의 구현</a:t>
            </a:r>
            <a:endParaRPr lang="en-US" altLang="ko-KR" sz="2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altLang="ko-KR" sz="2800" b="1" dirty="0"/>
              <a:t>MapReduce system: 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사용자의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 MapReduce 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응용 프로그램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, 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클러스터 리소스 관리</a:t>
            </a:r>
            <a:r>
              <a:rPr lang="en-US" altLang="ko-KR" sz="2800" dirty="0">
                <a:solidFill>
                  <a:schemeClr val="tx2">
                    <a:lumMod val="50000"/>
                  </a:schemeClr>
                </a:solidFill>
              </a:rPr>
              <a:t>, </a:t>
            </a:r>
            <a:r>
              <a:rPr lang="ko-KR" altLang="en-US" sz="2800">
                <a:solidFill>
                  <a:schemeClr val="tx2">
                    <a:lumMod val="50000"/>
                  </a:schemeClr>
                </a:solidFill>
              </a:rPr>
              <a:t>수천개의 현재 작업 스케줄링등을 수행하는 백엔드 인프라</a:t>
            </a:r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794" y="1516466"/>
            <a:ext cx="4619625" cy="363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6076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Map</a:t>
            </a:r>
            <a:endParaRPr lang="ko-KR" altLang="en-US"/>
          </a:p>
        </p:txBody>
      </p:sp>
      <p:sp>
        <p:nvSpPr>
          <p:cNvPr id="4" name="TextBox 3"/>
          <p:cNvSpPr txBox="1"/>
          <p:nvPr/>
        </p:nvSpPr>
        <p:spPr>
          <a:xfrm>
            <a:off x="6551240" y="73607"/>
            <a:ext cx="57583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latinLnBrk="0"/>
            <a:r>
              <a:rPr lang="ko-KR" altLang="en-US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시나리오</a:t>
            </a:r>
            <a:r>
              <a:rPr lang="en-US" altLang="ko-KR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en-US" altLang="ko-KR" sz="1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zipcode</a:t>
            </a:r>
            <a:r>
              <a:rPr lang="ko-KR" altLang="en-US" sz="1600">
                <a:latin typeface="Segoe UI Light" panose="020B0502040204020203" pitchFamily="34" charset="0"/>
                <a:cs typeface="Segoe UI Light" panose="020B0502040204020203" pitchFamily="34" charset="0"/>
              </a:rPr>
              <a:t>를 기준으로 그룹화하여 집계한 세일즈 수익</a:t>
            </a:r>
            <a:endParaRPr lang="ko-KR" alt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ounded Rectangle 290"/>
          <p:cNvSpPr/>
          <p:nvPr/>
        </p:nvSpPr>
        <p:spPr bwMode="auto">
          <a:xfrm>
            <a:off x="6145027" y="3827782"/>
            <a:ext cx="4910634" cy="2766887"/>
          </a:xfrm>
          <a:prstGeom prst="round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Rounded Rectangle 289"/>
          <p:cNvSpPr/>
          <p:nvPr/>
        </p:nvSpPr>
        <p:spPr bwMode="auto">
          <a:xfrm>
            <a:off x="6145027" y="1002130"/>
            <a:ext cx="4910634" cy="2766887"/>
          </a:xfrm>
          <a:prstGeom prst="round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7" name="Group 238"/>
          <p:cNvGrpSpPr/>
          <p:nvPr/>
        </p:nvGrpSpPr>
        <p:grpSpPr>
          <a:xfrm>
            <a:off x="6267148" y="2490310"/>
            <a:ext cx="2314816" cy="3816946"/>
            <a:chOff x="2668361" y="3870230"/>
            <a:chExt cx="949961" cy="3816946"/>
          </a:xfrm>
        </p:grpSpPr>
        <p:sp>
          <p:nvSpPr>
            <p:cNvPr id="8" name="Rounded Rectangle 239"/>
            <p:cNvSpPr/>
            <p:nvPr/>
          </p:nvSpPr>
          <p:spPr>
            <a:xfrm>
              <a:off x="2668361" y="3870230"/>
              <a:ext cx="634804" cy="2992763"/>
            </a:xfrm>
            <a:prstGeom prst="roundRect">
              <a:avLst/>
            </a:prstGeom>
            <a:noFill/>
            <a:ln w="28575">
              <a:solidFill>
                <a:schemeClr val="tx1"/>
              </a:solidFill>
              <a:prstDash val="dash"/>
            </a:ln>
            <a:effectLst>
              <a:outerShdw dist="25400" dir="2700000" sx="0" sy="0" algn="br" rotWithShape="0">
                <a:srgbClr val="000000"/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9" name="TextBox 15"/>
            <p:cNvSpPr txBox="1"/>
            <p:nvPr/>
          </p:nvSpPr>
          <p:spPr>
            <a:xfrm>
              <a:off x="2887866" y="7379399"/>
              <a:ext cx="730456" cy="30777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Map tasks</a:t>
              </a:r>
            </a:p>
          </p:txBody>
        </p:sp>
        <p:cxnSp>
          <p:nvCxnSpPr>
            <p:cNvPr id="10" name="Straight Arrow Connector 243"/>
            <p:cNvCxnSpPr/>
            <p:nvPr/>
          </p:nvCxnSpPr>
          <p:spPr>
            <a:xfrm flipH="1" flipV="1">
              <a:off x="3303165" y="6850048"/>
              <a:ext cx="105922" cy="526195"/>
            </a:xfrm>
            <a:prstGeom prst="straightConnector1">
              <a:avLst/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Slide Number Placeholder 3"/>
          <p:cNvSpPr txBox="1">
            <a:spLocks/>
          </p:cNvSpPr>
          <p:nvPr/>
        </p:nvSpPr>
        <p:spPr>
          <a:xfrm>
            <a:off x="11264900" y="6286500"/>
            <a:ext cx="9271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r" defTabSz="932688" rtl="0" eaLnBrk="1" latinLnBrk="1" hangingPunct="1">
              <a:defRPr sz="122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6344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688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032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376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064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408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752" algn="l" defTabSz="932688" rtl="0" eaLnBrk="1" latinLnBrk="1" hangingPunct="1"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8DCB10-97A4-405D-8E23-559299D9D189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12" name="Group 72"/>
          <p:cNvGrpSpPr/>
          <p:nvPr/>
        </p:nvGrpSpPr>
        <p:grpSpPr>
          <a:xfrm>
            <a:off x="9024018" y="3045043"/>
            <a:ext cx="1478372" cy="276999"/>
            <a:chOff x="763623" y="2662134"/>
            <a:chExt cx="1368356" cy="276999"/>
          </a:xfrm>
          <a:solidFill>
            <a:srgbClr val="FFFF00"/>
          </a:solidFill>
        </p:grpSpPr>
        <p:sp>
          <p:nvSpPr>
            <p:cNvPr id="13" name="TextBox 12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3705 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65 </a:t>
              </a:r>
            </a:p>
          </p:txBody>
        </p:sp>
      </p:grpSp>
      <p:grpSp>
        <p:nvGrpSpPr>
          <p:cNvPr id="15" name="Group 77"/>
          <p:cNvGrpSpPr/>
          <p:nvPr/>
        </p:nvGrpSpPr>
        <p:grpSpPr>
          <a:xfrm>
            <a:off x="9003278" y="4071822"/>
            <a:ext cx="1478372" cy="276999"/>
            <a:chOff x="763623" y="2662134"/>
            <a:chExt cx="1368356" cy="276999"/>
          </a:xfrm>
          <a:solidFill>
            <a:srgbClr val="FFFF00"/>
          </a:solidFill>
        </p:grpSpPr>
        <p:sp>
          <p:nvSpPr>
            <p:cNvPr id="16" name="TextBox 15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3705 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30 </a:t>
              </a:r>
            </a:p>
          </p:txBody>
        </p:sp>
      </p:grpSp>
      <p:grpSp>
        <p:nvGrpSpPr>
          <p:cNvPr id="18" name="Group 78"/>
          <p:cNvGrpSpPr/>
          <p:nvPr/>
        </p:nvGrpSpPr>
        <p:grpSpPr>
          <a:xfrm>
            <a:off x="9003278" y="4387418"/>
            <a:ext cx="1478372" cy="276999"/>
            <a:chOff x="763623" y="2662134"/>
            <a:chExt cx="1368356" cy="276999"/>
          </a:xfrm>
          <a:solidFill>
            <a:srgbClr val="FFFF00"/>
          </a:solidFill>
        </p:grpSpPr>
        <p:sp>
          <p:nvSpPr>
            <p:cNvPr id="19" name="TextBox 18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3705 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15 </a:t>
              </a:r>
            </a:p>
          </p:txBody>
        </p:sp>
      </p:grpSp>
      <p:grpSp>
        <p:nvGrpSpPr>
          <p:cNvPr id="21" name="Group 86"/>
          <p:cNvGrpSpPr/>
          <p:nvPr/>
        </p:nvGrpSpPr>
        <p:grpSpPr>
          <a:xfrm>
            <a:off x="9024018" y="1250881"/>
            <a:ext cx="1478372" cy="276999"/>
            <a:chOff x="763623" y="2662134"/>
            <a:chExt cx="1368356" cy="276999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22" name="TextBox 21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4235 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75 </a:t>
              </a:r>
            </a:p>
          </p:txBody>
        </p:sp>
      </p:grpSp>
      <p:grpSp>
        <p:nvGrpSpPr>
          <p:cNvPr id="24" name="Group 87"/>
          <p:cNvGrpSpPr/>
          <p:nvPr/>
        </p:nvGrpSpPr>
        <p:grpSpPr>
          <a:xfrm>
            <a:off x="9024018" y="1560489"/>
            <a:ext cx="1478372" cy="276999"/>
            <a:chOff x="763623" y="2662134"/>
            <a:chExt cx="1368356" cy="276999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25" name="TextBox 24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4235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22 </a:t>
              </a:r>
            </a:p>
          </p:txBody>
        </p:sp>
      </p:grpSp>
      <p:grpSp>
        <p:nvGrpSpPr>
          <p:cNvPr id="27" name="Group 95"/>
          <p:cNvGrpSpPr/>
          <p:nvPr/>
        </p:nvGrpSpPr>
        <p:grpSpPr>
          <a:xfrm>
            <a:off x="9003278" y="4853361"/>
            <a:ext cx="1478372" cy="276999"/>
            <a:chOff x="763623" y="2662134"/>
            <a:chExt cx="1368356" cy="276999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28" name="TextBox 27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02115 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15 </a:t>
              </a:r>
            </a:p>
          </p:txBody>
        </p:sp>
      </p:grpSp>
      <p:grpSp>
        <p:nvGrpSpPr>
          <p:cNvPr id="30" name="Group 96"/>
          <p:cNvGrpSpPr/>
          <p:nvPr/>
        </p:nvGrpSpPr>
        <p:grpSpPr>
          <a:xfrm>
            <a:off x="9003278" y="5167976"/>
            <a:ext cx="1478372" cy="276999"/>
            <a:chOff x="763623" y="2662134"/>
            <a:chExt cx="1368356" cy="276999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31" name="TextBox 30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02115 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15 </a:t>
              </a:r>
            </a:p>
          </p:txBody>
        </p:sp>
      </p:grpSp>
      <p:grpSp>
        <p:nvGrpSpPr>
          <p:cNvPr id="33" name="Group 112"/>
          <p:cNvGrpSpPr/>
          <p:nvPr/>
        </p:nvGrpSpPr>
        <p:grpSpPr>
          <a:xfrm>
            <a:off x="9003278" y="5592941"/>
            <a:ext cx="1478372" cy="276999"/>
            <a:chOff x="763623" y="2662134"/>
            <a:chExt cx="1368356" cy="276999"/>
          </a:xfrm>
          <a:solidFill>
            <a:srgbClr val="B6FF23"/>
          </a:solidFill>
        </p:grpSpPr>
        <p:sp>
          <p:nvSpPr>
            <p:cNvPr id="34" name="TextBox 33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44313 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10 </a:t>
              </a:r>
            </a:p>
          </p:txBody>
        </p:sp>
      </p:grpSp>
      <p:grpSp>
        <p:nvGrpSpPr>
          <p:cNvPr id="36" name="Group 113"/>
          <p:cNvGrpSpPr/>
          <p:nvPr/>
        </p:nvGrpSpPr>
        <p:grpSpPr>
          <a:xfrm>
            <a:off x="9003278" y="5905450"/>
            <a:ext cx="1478372" cy="276999"/>
            <a:chOff x="763623" y="2662134"/>
            <a:chExt cx="1368356" cy="276999"/>
          </a:xfrm>
          <a:solidFill>
            <a:srgbClr val="B6FF23"/>
          </a:solidFill>
        </p:grpSpPr>
        <p:sp>
          <p:nvSpPr>
            <p:cNvPr id="37" name="TextBox 36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44313 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25 </a:t>
              </a:r>
            </a:p>
          </p:txBody>
        </p:sp>
      </p:grpSp>
      <p:grpSp>
        <p:nvGrpSpPr>
          <p:cNvPr id="39" name="Group 120"/>
          <p:cNvGrpSpPr/>
          <p:nvPr/>
        </p:nvGrpSpPr>
        <p:grpSpPr>
          <a:xfrm>
            <a:off x="9024018" y="2616897"/>
            <a:ext cx="1478372" cy="276999"/>
            <a:chOff x="763623" y="2662134"/>
            <a:chExt cx="1368356" cy="276999"/>
          </a:xfrm>
          <a:solidFill>
            <a:srgbClr val="B6FF23"/>
          </a:solidFill>
        </p:grpSpPr>
        <p:sp>
          <p:nvSpPr>
            <p:cNvPr id="40" name="TextBox 39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44313 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55 </a:t>
              </a:r>
            </a:p>
          </p:txBody>
        </p:sp>
      </p:grpSp>
      <p:grpSp>
        <p:nvGrpSpPr>
          <p:cNvPr id="42" name="Group 232"/>
          <p:cNvGrpSpPr/>
          <p:nvPr/>
        </p:nvGrpSpPr>
        <p:grpSpPr>
          <a:xfrm>
            <a:off x="1550972" y="1440931"/>
            <a:ext cx="2172791" cy="5031732"/>
            <a:chOff x="303330" y="1246961"/>
            <a:chExt cx="1630018" cy="5031732"/>
          </a:xfrm>
        </p:grpSpPr>
        <p:sp>
          <p:nvSpPr>
            <p:cNvPr id="43" name="Rounded Rectangle 150"/>
            <p:cNvSpPr/>
            <p:nvPr/>
          </p:nvSpPr>
          <p:spPr bwMode="auto">
            <a:xfrm>
              <a:off x="303330" y="2960620"/>
              <a:ext cx="1630018" cy="1604413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44" name="Group 139"/>
            <p:cNvGrpSpPr/>
            <p:nvPr/>
          </p:nvGrpSpPr>
          <p:grpSpPr>
            <a:xfrm>
              <a:off x="385831" y="3779304"/>
              <a:ext cx="1463040" cy="640080"/>
              <a:chOff x="2105915" y="5411211"/>
              <a:chExt cx="1463040" cy="640080"/>
            </a:xfrm>
          </p:grpSpPr>
          <p:sp>
            <p:nvSpPr>
              <p:cNvPr id="102" name="Rectangle 138"/>
              <p:cNvSpPr/>
              <p:nvPr/>
            </p:nvSpPr>
            <p:spPr bwMode="auto">
              <a:xfrm>
                <a:off x="2105915" y="5411211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103" name="Group 131"/>
              <p:cNvGrpSpPr/>
              <p:nvPr/>
            </p:nvGrpSpPr>
            <p:grpSpPr>
              <a:xfrm>
                <a:off x="2136818" y="5439204"/>
                <a:ext cx="1401235" cy="584094"/>
                <a:chOff x="2971927" y="2440049"/>
                <a:chExt cx="1401235" cy="584094"/>
              </a:xfrm>
            </p:grpSpPr>
            <p:grpSp>
              <p:nvGrpSpPr>
                <p:cNvPr id="104" name="Group 19"/>
                <p:cNvGrpSpPr/>
                <p:nvPr/>
              </p:nvGrpSpPr>
              <p:grpSpPr>
                <a:xfrm>
                  <a:off x="2972372" y="2440049"/>
                  <a:ext cx="1400790" cy="276999"/>
                  <a:chOff x="403699" y="2662134"/>
                  <a:chExt cx="1728280" cy="276999"/>
                </a:xfrm>
                <a:solidFill>
                  <a:srgbClr val="FFFF00"/>
                </a:solidFill>
              </p:grpSpPr>
              <p:sp>
                <p:nvSpPr>
                  <p:cNvPr id="109" name="TextBox 108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 </a:t>
                    </a:r>
                  </a:p>
                </p:txBody>
              </p:sp>
              <p:sp>
                <p:nvSpPr>
                  <p:cNvPr id="110" name="TextBox 109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3705 </a:t>
                    </a:r>
                  </a:p>
                </p:txBody>
              </p:sp>
              <p:sp>
                <p:nvSpPr>
                  <p:cNvPr id="111" name="TextBox 110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15 </a:t>
                    </a:r>
                  </a:p>
                </p:txBody>
              </p:sp>
            </p:grpSp>
            <p:grpSp>
              <p:nvGrpSpPr>
                <p:cNvPr id="105" name="Group 49"/>
                <p:cNvGrpSpPr/>
                <p:nvPr/>
              </p:nvGrpSpPr>
              <p:grpSpPr>
                <a:xfrm>
                  <a:off x="2971927" y="2747144"/>
                  <a:ext cx="1400790" cy="276999"/>
                  <a:chOff x="403699" y="2662134"/>
                  <a:chExt cx="1728280" cy="276999"/>
                </a:xfrm>
                <a:solidFill>
                  <a:srgbClr val="B6FF23"/>
                </a:solidFill>
              </p:grpSpPr>
              <p:sp>
                <p:nvSpPr>
                  <p:cNvPr id="106" name="TextBox 105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6 </a:t>
                    </a:r>
                  </a:p>
                </p:txBody>
              </p:sp>
              <p:sp>
                <p:nvSpPr>
                  <p:cNvPr id="107" name="TextBox 106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44313 </a:t>
                    </a:r>
                  </a:p>
                </p:txBody>
              </p:sp>
              <p:sp>
                <p:nvSpPr>
                  <p:cNvPr id="108" name="TextBox 107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10 </a:t>
                    </a:r>
                  </a:p>
                </p:txBody>
              </p:sp>
            </p:grpSp>
          </p:grpSp>
        </p:grpSp>
        <p:grpSp>
          <p:nvGrpSpPr>
            <p:cNvPr id="45" name="Group 142"/>
            <p:cNvGrpSpPr/>
            <p:nvPr/>
          </p:nvGrpSpPr>
          <p:grpSpPr>
            <a:xfrm>
              <a:off x="387807" y="3106269"/>
              <a:ext cx="1463040" cy="640080"/>
              <a:chOff x="2147742" y="3297889"/>
              <a:chExt cx="1463040" cy="640080"/>
            </a:xfrm>
          </p:grpSpPr>
          <p:sp>
            <p:nvSpPr>
              <p:cNvPr id="92" name="Rectangle 134"/>
              <p:cNvSpPr/>
              <p:nvPr/>
            </p:nvSpPr>
            <p:spPr bwMode="auto">
              <a:xfrm>
                <a:off x="2147742" y="3297889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93" name="Group 127"/>
              <p:cNvGrpSpPr/>
              <p:nvPr/>
            </p:nvGrpSpPr>
            <p:grpSpPr>
              <a:xfrm>
                <a:off x="2178867" y="3330694"/>
                <a:ext cx="1400790" cy="574471"/>
                <a:chOff x="305694" y="3500998"/>
                <a:chExt cx="1400790" cy="574471"/>
              </a:xfrm>
            </p:grpSpPr>
            <p:grpSp>
              <p:nvGrpSpPr>
                <p:cNvPr id="94" name="Group 17"/>
                <p:cNvGrpSpPr/>
                <p:nvPr/>
              </p:nvGrpSpPr>
              <p:grpSpPr>
                <a:xfrm>
                  <a:off x="305694" y="3500998"/>
                  <a:ext cx="1400790" cy="276999"/>
                  <a:chOff x="403699" y="2662134"/>
                  <a:chExt cx="1728280" cy="276999"/>
                </a:xfrm>
                <a:solidFill>
                  <a:srgbClr val="FFFF00"/>
                </a:solidFill>
              </p:grpSpPr>
              <p:sp>
                <p:nvSpPr>
                  <p:cNvPr id="99" name="TextBox 98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 </a:t>
                    </a:r>
                  </a:p>
                </p:txBody>
              </p:sp>
              <p:sp>
                <p:nvSpPr>
                  <p:cNvPr id="100" name="TextBox 99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3705 </a:t>
                    </a:r>
                  </a:p>
                </p:txBody>
              </p:sp>
              <p:sp>
                <p:nvSpPr>
                  <p:cNvPr id="101" name="TextBox 100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65 </a:t>
                    </a:r>
                  </a:p>
                </p:txBody>
              </p:sp>
            </p:grpSp>
            <p:grpSp>
              <p:nvGrpSpPr>
                <p:cNvPr id="95" name="Group 31"/>
                <p:cNvGrpSpPr/>
                <p:nvPr/>
              </p:nvGrpSpPr>
              <p:grpSpPr>
                <a:xfrm>
                  <a:off x="305694" y="3798470"/>
                  <a:ext cx="1400790" cy="276999"/>
                  <a:chOff x="403699" y="2662134"/>
                  <a:chExt cx="1728280" cy="276999"/>
                </a:xfrm>
                <a:solidFill>
                  <a:schemeClr val="tx2">
                    <a:lumMod val="40000"/>
                    <a:lumOff val="60000"/>
                  </a:schemeClr>
                </a:solidFill>
              </p:grpSpPr>
              <p:sp>
                <p:nvSpPr>
                  <p:cNvPr id="96" name="TextBox 95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0 </a:t>
                    </a:r>
                  </a:p>
                </p:txBody>
              </p:sp>
              <p:sp>
                <p:nvSpPr>
                  <p:cNvPr id="97" name="TextBox 96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4235</a:t>
                    </a:r>
                  </a:p>
                </p:txBody>
              </p:sp>
              <p:sp>
                <p:nvSpPr>
                  <p:cNvPr id="98" name="TextBox 97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22 </a:t>
                    </a:r>
                  </a:p>
                </p:txBody>
              </p:sp>
            </p:grpSp>
          </p:grpSp>
        </p:grpSp>
        <p:sp>
          <p:nvSpPr>
            <p:cNvPr id="46" name="Rounded Rectangle 145"/>
            <p:cNvSpPr/>
            <p:nvPr/>
          </p:nvSpPr>
          <p:spPr bwMode="auto">
            <a:xfrm>
              <a:off x="303330" y="4674280"/>
              <a:ext cx="1630018" cy="1604413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47" name="Group 144"/>
            <p:cNvGrpSpPr/>
            <p:nvPr/>
          </p:nvGrpSpPr>
          <p:grpSpPr>
            <a:xfrm>
              <a:off x="386819" y="5491703"/>
              <a:ext cx="1463040" cy="640080"/>
              <a:chOff x="2939448" y="4373217"/>
              <a:chExt cx="1463040" cy="640080"/>
            </a:xfrm>
          </p:grpSpPr>
          <p:sp>
            <p:nvSpPr>
              <p:cNvPr id="82" name="Rectangle 133"/>
              <p:cNvSpPr/>
              <p:nvPr/>
            </p:nvSpPr>
            <p:spPr bwMode="auto">
              <a:xfrm>
                <a:off x="2939448" y="4373217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83" name="Group 130"/>
              <p:cNvGrpSpPr/>
              <p:nvPr/>
            </p:nvGrpSpPr>
            <p:grpSpPr>
              <a:xfrm>
                <a:off x="2970351" y="4406868"/>
                <a:ext cx="1401235" cy="572779"/>
                <a:chOff x="2971927" y="3607099"/>
                <a:chExt cx="1401235" cy="572779"/>
              </a:xfrm>
            </p:grpSpPr>
            <p:grpSp>
              <p:nvGrpSpPr>
                <p:cNvPr id="84" name="Group 33"/>
                <p:cNvGrpSpPr/>
                <p:nvPr/>
              </p:nvGrpSpPr>
              <p:grpSpPr>
                <a:xfrm>
                  <a:off x="2972372" y="3902879"/>
                  <a:ext cx="1400790" cy="276999"/>
                  <a:chOff x="403699" y="2662134"/>
                  <a:chExt cx="1728280" cy="276999"/>
                </a:xfrm>
                <a:solidFill>
                  <a:schemeClr val="accent4">
                    <a:lumMod val="40000"/>
                    <a:lumOff val="60000"/>
                  </a:schemeClr>
                </a:solidFill>
              </p:grpSpPr>
              <p:sp>
                <p:nvSpPr>
                  <p:cNvPr id="89" name="TextBox 88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9 </a:t>
                    </a:r>
                  </a:p>
                </p:txBody>
              </p:sp>
              <p:sp>
                <p:nvSpPr>
                  <p:cNvPr id="90" name="TextBox 89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02115 </a:t>
                    </a:r>
                  </a:p>
                </p:txBody>
              </p:sp>
              <p:sp>
                <p:nvSpPr>
                  <p:cNvPr id="91" name="TextBox 90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15 </a:t>
                    </a:r>
                  </a:p>
                </p:txBody>
              </p:sp>
            </p:grpSp>
            <p:grpSp>
              <p:nvGrpSpPr>
                <p:cNvPr id="85" name="Group 50"/>
                <p:cNvGrpSpPr/>
                <p:nvPr/>
              </p:nvGrpSpPr>
              <p:grpSpPr>
                <a:xfrm>
                  <a:off x="2971927" y="3607099"/>
                  <a:ext cx="1400790" cy="276999"/>
                  <a:chOff x="403699" y="2662134"/>
                  <a:chExt cx="1728280" cy="276999"/>
                </a:xfrm>
                <a:solidFill>
                  <a:srgbClr val="B6FF23"/>
                </a:solidFill>
              </p:grpSpPr>
              <p:sp>
                <p:nvSpPr>
                  <p:cNvPr id="86" name="TextBox 85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6 </a:t>
                    </a:r>
                  </a:p>
                </p:txBody>
              </p:sp>
              <p:sp>
                <p:nvSpPr>
                  <p:cNvPr id="87" name="TextBox 86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44313 </a:t>
                    </a:r>
                  </a:p>
                </p:txBody>
              </p:sp>
              <p:sp>
                <p:nvSpPr>
                  <p:cNvPr id="88" name="TextBox 87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25 </a:t>
                    </a:r>
                  </a:p>
                </p:txBody>
              </p:sp>
            </p:grpSp>
          </p:grpSp>
        </p:grpSp>
        <p:grpSp>
          <p:nvGrpSpPr>
            <p:cNvPr id="48" name="Group 143"/>
            <p:cNvGrpSpPr/>
            <p:nvPr/>
          </p:nvGrpSpPr>
          <p:grpSpPr>
            <a:xfrm>
              <a:off x="386819" y="4811664"/>
              <a:ext cx="1463040" cy="640080"/>
              <a:chOff x="3683633" y="5470248"/>
              <a:chExt cx="1463040" cy="640080"/>
            </a:xfrm>
          </p:grpSpPr>
          <p:sp>
            <p:nvSpPr>
              <p:cNvPr id="72" name="Rectangle 137"/>
              <p:cNvSpPr/>
              <p:nvPr/>
            </p:nvSpPr>
            <p:spPr bwMode="auto">
              <a:xfrm>
                <a:off x="3683633" y="5470248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73" name="Group 128"/>
              <p:cNvGrpSpPr/>
              <p:nvPr/>
            </p:nvGrpSpPr>
            <p:grpSpPr>
              <a:xfrm>
                <a:off x="3714758" y="5513439"/>
                <a:ext cx="1400790" cy="572748"/>
                <a:chOff x="459037" y="2579073"/>
                <a:chExt cx="1400790" cy="572748"/>
              </a:xfrm>
            </p:grpSpPr>
            <p:grpSp>
              <p:nvGrpSpPr>
                <p:cNvPr id="74" name="Group 47"/>
                <p:cNvGrpSpPr/>
                <p:nvPr/>
              </p:nvGrpSpPr>
              <p:grpSpPr>
                <a:xfrm>
                  <a:off x="459037" y="2579073"/>
                  <a:ext cx="1400790" cy="276999"/>
                  <a:chOff x="403699" y="2662134"/>
                  <a:chExt cx="1728280" cy="276999"/>
                </a:xfrm>
                <a:solidFill>
                  <a:schemeClr val="accent6"/>
                </a:solidFill>
              </p:grpSpPr>
              <p:sp>
                <p:nvSpPr>
                  <p:cNvPr id="79" name="TextBox 78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3 </a:t>
                    </a:r>
                  </a:p>
                </p:txBody>
              </p:sp>
              <p:sp>
                <p:nvSpPr>
                  <p:cNvPr id="80" name="TextBox 79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10025 </a:t>
                    </a:r>
                  </a:p>
                </p:txBody>
              </p:sp>
              <p:sp>
                <p:nvSpPr>
                  <p:cNvPr id="81" name="TextBox 80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95 </a:t>
                    </a:r>
                  </a:p>
                </p:txBody>
              </p:sp>
            </p:grpSp>
            <p:grpSp>
              <p:nvGrpSpPr>
                <p:cNvPr id="75" name="Group 51"/>
                <p:cNvGrpSpPr/>
                <p:nvPr/>
              </p:nvGrpSpPr>
              <p:grpSpPr>
                <a:xfrm>
                  <a:off x="459037" y="2874822"/>
                  <a:ext cx="1400790" cy="276999"/>
                  <a:chOff x="403699" y="2662134"/>
                  <a:chExt cx="1728280" cy="276999"/>
                </a:xfrm>
                <a:solidFill>
                  <a:srgbClr val="B6FF23"/>
                </a:solidFill>
              </p:grpSpPr>
              <p:sp>
                <p:nvSpPr>
                  <p:cNvPr id="76" name="TextBox 75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8 </a:t>
                    </a:r>
                  </a:p>
                </p:txBody>
              </p:sp>
              <p:sp>
                <p:nvSpPr>
                  <p:cNvPr id="77" name="TextBox 76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44313 </a:t>
                    </a:r>
                  </a:p>
                </p:txBody>
              </p:sp>
              <p:sp>
                <p:nvSpPr>
                  <p:cNvPr id="78" name="TextBox 77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55 </a:t>
                    </a:r>
                  </a:p>
                </p:txBody>
              </p:sp>
            </p:grpSp>
          </p:grpSp>
        </p:grpSp>
        <p:sp>
          <p:nvSpPr>
            <p:cNvPr id="49" name="Rounded Rectangle 149"/>
            <p:cNvSpPr/>
            <p:nvPr/>
          </p:nvSpPr>
          <p:spPr bwMode="auto">
            <a:xfrm>
              <a:off x="303330" y="1246961"/>
              <a:ext cx="1630018" cy="1604413"/>
            </a:xfrm>
            <a:prstGeom prst="roundRect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50" name="Group 140"/>
            <p:cNvGrpSpPr/>
            <p:nvPr/>
          </p:nvGrpSpPr>
          <p:grpSpPr>
            <a:xfrm>
              <a:off x="386819" y="2072687"/>
              <a:ext cx="1463040" cy="640080"/>
              <a:chOff x="4197079" y="3098145"/>
              <a:chExt cx="1463040" cy="640080"/>
            </a:xfrm>
          </p:grpSpPr>
          <p:sp>
            <p:nvSpPr>
              <p:cNvPr id="62" name="Rectangle 136"/>
              <p:cNvSpPr/>
              <p:nvPr/>
            </p:nvSpPr>
            <p:spPr bwMode="auto">
              <a:xfrm>
                <a:off x="4197079" y="3098145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63" name="Group 132"/>
              <p:cNvGrpSpPr/>
              <p:nvPr/>
            </p:nvGrpSpPr>
            <p:grpSpPr>
              <a:xfrm>
                <a:off x="4228204" y="3117905"/>
                <a:ext cx="1400790" cy="581510"/>
                <a:chOff x="2908762" y="1637808"/>
                <a:chExt cx="1400790" cy="581510"/>
              </a:xfrm>
            </p:grpSpPr>
            <p:grpSp>
              <p:nvGrpSpPr>
                <p:cNvPr id="64" name="Group 18"/>
                <p:cNvGrpSpPr/>
                <p:nvPr/>
              </p:nvGrpSpPr>
              <p:grpSpPr>
                <a:xfrm>
                  <a:off x="2908762" y="1637808"/>
                  <a:ext cx="1400790" cy="276999"/>
                  <a:chOff x="403699" y="2662134"/>
                  <a:chExt cx="1728280" cy="276999"/>
                </a:xfrm>
                <a:solidFill>
                  <a:srgbClr val="FFFF00"/>
                </a:solidFill>
              </p:grpSpPr>
              <p:sp>
                <p:nvSpPr>
                  <p:cNvPr id="69" name="TextBox 68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2 </a:t>
                    </a:r>
                  </a:p>
                </p:txBody>
              </p:sp>
              <p:sp>
                <p:nvSpPr>
                  <p:cNvPr id="70" name="TextBox 69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3705 </a:t>
                    </a:r>
                  </a:p>
                </p:txBody>
              </p:sp>
              <p:sp>
                <p:nvSpPr>
                  <p:cNvPr id="71" name="TextBox 70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30 </a:t>
                    </a:r>
                  </a:p>
                </p:txBody>
              </p:sp>
            </p:grpSp>
            <p:grpSp>
              <p:nvGrpSpPr>
                <p:cNvPr id="65" name="Group 32"/>
                <p:cNvGrpSpPr/>
                <p:nvPr/>
              </p:nvGrpSpPr>
              <p:grpSpPr>
                <a:xfrm>
                  <a:off x="2908762" y="1942319"/>
                  <a:ext cx="1400790" cy="276999"/>
                  <a:chOff x="403699" y="2662134"/>
                  <a:chExt cx="1728280" cy="276999"/>
                </a:xfrm>
                <a:solidFill>
                  <a:schemeClr val="accent4">
                    <a:lumMod val="40000"/>
                    <a:lumOff val="60000"/>
                  </a:schemeClr>
                </a:solidFill>
              </p:grpSpPr>
              <p:sp>
                <p:nvSpPr>
                  <p:cNvPr id="66" name="TextBox 65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1 </a:t>
                    </a:r>
                  </a:p>
                </p:txBody>
              </p:sp>
              <p:sp>
                <p:nvSpPr>
                  <p:cNvPr id="67" name="TextBox 66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02115 </a:t>
                    </a:r>
                  </a:p>
                </p:txBody>
              </p:sp>
              <p:sp>
                <p:nvSpPr>
                  <p:cNvPr id="68" name="TextBox 67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15 </a:t>
                    </a:r>
                  </a:p>
                </p:txBody>
              </p:sp>
            </p:grpSp>
          </p:grpSp>
        </p:grpSp>
        <p:grpSp>
          <p:nvGrpSpPr>
            <p:cNvPr id="51" name="Group 141"/>
            <p:cNvGrpSpPr/>
            <p:nvPr/>
          </p:nvGrpSpPr>
          <p:grpSpPr>
            <a:xfrm>
              <a:off x="386819" y="1395092"/>
              <a:ext cx="1463040" cy="640080"/>
              <a:chOff x="4402488" y="2283841"/>
              <a:chExt cx="1463040" cy="640080"/>
            </a:xfrm>
          </p:grpSpPr>
          <p:sp>
            <p:nvSpPr>
              <p:cNvPr id="52" name="Rectangle 135"/>
              <p:cNvSpPr/>
              <p:nvPr/>
            </p:nvSpPr>
            <p:spPr bwMode="auto">
              <a:xfrm>
                <a:off x="4402488" y="2283841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53" name="Group 126"/>
              <p:cNvGrpSpPr/>
              <p:nvPr/>
            </p:nvGrpSpPr>
            <p:grpSpPr>
              <a:xfrm>
                <a:off x="4431859" y="2311913"/>
                <a:ext cx="1404297" cy="583936"/>
                <a:chOff x="563318" y="1643334"/>
                <a:chExt cx="1404297" cy="583936"/>
              </a:xfrm>
            </p:grpSpPr>
            <p:grpSp>
              <p:nvGrpSpPr>
                <p:cNvPr id="54" name="Group 30"/>
                <p:cNvGrpSpPr/>
                <p:nvPr/>
              </p:nvGrpSpPr>
              <p:grpSpPr>
                <a:xfrm>
                  <a:off x="566825" y="1643334"/>
                  <a:ext cx="1400790" cy="276999"/>
                  <a:chOff x="403699" y="2662134"/>
                  <a:chExt cx="1728280" cy="276999"/>
                </a:xfrm>
                <a:solidFill>
                  <a:schemeClr val="tx2">
                    <a:lumMod val="40000"/>
                    <a:lumOff val="60000"/>
                  </a:schemeClr>
                </a:solidFill>
              </p:grpSpPr>
              <p:sp>
                <p:nvSpPr>
                  <p:cNvPr id="59" name="TextBox 58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4 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4235 </a:t>
                    </a:r>
                  </a:p>
                </p:txBody>
              </p:sp>
              <p:sp>
                <p:nvSpPr>
                  <p:cNvPr id="61" name="TextBox 60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75 </a:t>
                    </a:r>
                  </a:p>
                </p:txBody>
              </p:sp>
            </p:grpSp>
            <p:grpSp>
              <p:nvGrpSpPr>
                <p:cNvPr id="55" name="Group 48"/>
                <p:cNvGrpSpPr/>
                <p:nvPr/>
              </p:nvGrpSpPr>
              <p:grpSpPr>
                <a:xfrm>
                  <a:off x="563318" y="1950271"/>
                  <a:ext cx="1400790" cy="276999"/>
                  <a:chOff x="403699" y="2662134"/>
                  <a:chExt cx="1728280" cy="276999"/>
                </a:xfrm>
                <a:solidFill>
                  <a:schemeClr val="accent6"/>
                </a:solidFill>
              </p:grpSpPr>
              <p:sp>
                <p:nvSpPr>
                  <p:cNvPr id="56" name="TextBox 55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7 </a:t>
                    </a:r>
                  </a:p>
                </p:txBody>
              </p:sp>
              <p:sp>
                <p:nvSpPr>
                  <p:cNvPr id="57" name="TextBox 56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10025 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60 </a:t>
                    </a:r>
                  </a:p>
                </p:txBody>
              </p:sp>
            </p:grpSp>
          </p:grpSp>
        </p:grpSp>
      </p:grpSp>
      <p:sp>
        <p:nvSpPr>
          <p:cNvPr id="112" name="Rounded Rectangle 154"/>
          <p:cNvSpPr/>
          <p:nvPr/>
        </p:nvSpPr>
        <p:spPr bwMode="auto">
          <a:xfrm>
            <a:off x="6352933" y="3006943"/>
            <a:ext cx="1413385" cy="42801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pper</a:t>
            </a:r>
          </a:p>
        </p:txBody>
      </p:sp>
      <p:sp>
        <p:nvSpPr>
          <p:cNvPr id="113" name="Rounded Rectangle 155"/>
          <p:cNvSpPr/>
          <p:nvPr/>
        </p:nvSpPr>
        <p:spPr bwMode="auto">
          <a:xfrm>
            <a:off x="6371917" y="4712070"/>
            <a:ext cx="1413385" cy="42801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pper</a:t>
            </a:r>
          </a:p>
        </p:txBody>
      </p:sp>
      <p:grpSp>
        <p:nvGrpSpPr>
          <p:cNvPr id="114" name="Group 184"/>
          <p:cNvGrpSpPr/>
          <p:nvPr/>
        </p:nvGrpSpPr>
        <p:grpSpPr>
          <a:xfrm>
            <a:off x="3723764" y="2170273"/>
            <a:ext cx="2760967" cy="1050679"/>
            <a:chOff x="1933348" y="1976301"/>
            <a:chExt cx="2071265" cy="1050679"/>
          </a:xfrm>
        </p:grpSpPr>
        <p:cxnSp>
          <p:nvCxnSpPr>
            <p:cNvPr id="115" name="Straight Arrow Connector 179"/>
            <p:cNvCxnSpPr>
              <a:stCxn id="49" idx="3"/>
              <a:endCxn id="112" idx="1"/>
            </p:cNvCxnSpPr>
            <p:nvPr/>
          </p:nvCxnSpPr>
          <p:spPr bwMode="auto">
            <a:xfrm>
              <a:off x="1933348" y="2049168"/>
              <a:ext cx="1972390" cy="977812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grpSp>
          <p:nvGrpSpPr>
            <p:cNvPr id="116" name="Group 156"/>
            <p:cNvGrpSpPr/>
            <p:nvPr/>
          </p:nvGrpSpPr>
          <p:grpSpPr>
            <a:xfrm>
              <a:off x="2541573" y="1976301"/>
              <a:ext cx="1463040" cy="640080"/>
              <a:chOff x="4402488" y="2283841"/>
              <a:chExt cx="1463040" cy="640080"/>
            </a:xfrm>
          </p:grpSpPr>
          <p:sp>
            <p:nvSpPr>
              <p:cNvPr id="117" name="Rectangle 157"/>
              <p:cNvSpPr/>
              <p:nvPr/>
            </p:nvSpPr>
            <p:spPr bwMode="auto">
              <a:xfrm>
                <a:off x="4402488" y="2283841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118" name="Group 158"/>
              <p:cNvGrpSpPr/>
              <p:nvPr/>
            </p:nvGrpSpPr>
            <p:grpSpPr>
              <a:xfrm>
                <a:off x="4431859" y="2311913"/>
                <a:ext cx="1404297" cy="583936"/>
                <a:chOff x="563318" y="1643334"/>
                <a:chExt cx="1404297" cy="583936"/>
              </a:xfrm>
            </p:grpSpPr>
            <p:grpSp>
              <p:nvGrpSpPr>
                <p:cNvPr id="119" name="Group 159"/>
                <p:cNvGrpSpPr/>
                <p:nvPr/>
              </p:nvGrpSpPr>
              <p:grpSpPr>
                <a:xfrm>
                  <a:off x="566825" y="1643334"/>
                  <a:ext cx="1400790" cy="276999"/>
                  <a:chOff x="403699" y="2662134"/>
                  <a:chExt cx="1728280" cy="276999"/>
                </a:xfrm>
                <a:solidFill>
                  <a:schemeClr val="tx2">
                    <a:lumMod val="40000"/>
                    <a:lumOff val="60000"/>
                  </a:schemeClr>
                </a:solidFill>
              </p:grpSpPr>
              <p:sp>
                <p:nvSpPr>
                  <p:cNvPr id="124" name="TextBox 123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4 </a:t>
                    </a:r>
                  </a:p>
                </p:txBody>
              </p:sp>
              <p:sp>
                <p:nvSpPr>
                  <p:cNvPr id="125" name="TextBox 124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4235 </a:t>
                    </a:r>
                  </a:p>
                </p:txBody>
              </p:sp>
              <p:sp>
                <p:nvSpPr>
                  <p:cNvPr id="126" name="TextBox 125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75 </a:t>
                    </a:r>
                  </a:p>
                </p:txBody>
              </p:sp>
            </p:grpSp>
            <p:grpSp>
              <p:nvGrpSpPr>
                <p:cNvPr id="120" name="Group 160"/>
                <p:cNvGrpSpPr/>
                <p:nvPr/>
              </p:nvGrpSpPr>
              <p:grpSpPr>
                <a:xfrm>
                  <a:off x="563318" y="1950271"/>
                  <a:ext cx="1400790" cy="276999"/>
                  <a:chOff x="403699" y="2662134"/>
                  <a:chExt cx="1728280" cy="276999"/>
                </a:xfrm>
                <a:solidFill>
                  <a:schemeClr val="accent6"/>
                </a:solidFill>
              </p:grpSpPr>
              <p:sp>
                <p:nvSpPr>
                  <p:cNvPr id="121" name="TextBox 120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7 </a:t>
                    </a:r>
                  </a:p>
                </p:txBody>
              </p:sp>
              <p:sp>
                <p:nvSpPr>
                  <p:cNvPr id="122" name="TextBox 121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10025 </a:t>
                    </a:r>
                  </a:p>
                </p:txBody>
              </p:sp>
              <p:sp>
                <p:nvSpPr>
                  <p:cNvPr id="123" name="TextBox 122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60 </a:t>
                    </a:r>
                  </a:p>
                </p:txBody>
              </p:sp>
            </p:grpSp>
          </p:grpSp>
        </p:grpSp>
      </p:grpSp>
      <p:grpSp>
        <p:nvGrpSpPr>
          <p:cNvPr id="127" name="Group 186"/>
          <p:cNvGrpSpPr/>
          <p:nvPr/>
        </p:nvGrpSpPr>
        <p:grpSpPr>
          <a:xfrm>
            <a:off x="3723764" y="2243140"/>
            <a:ext cx="2760967" cy="2682939"/>
            <a:chOff x="1933348" y="2049168"/>
            <a:chExt cx="2071265" cy="2682939"/>
          </a:xfrm>
        </p:grpSpPr>
        <p:cxnSp>
          <p:nvCxnSpPr>
            <p:cNvPr id="128" name="Straight Arrow Connector 181"/>
            <p:cNvCxnSpPr>
              <a:stCxn id="49" idx="3"/>
              <a:endCxn id="113" idx="1"/>
            </p:cNvCxnSpPr>
            <p:nvPr/>
          </p:nvCxnSpPr>
          <p:spPr bwMode="auto">
            <a:xfrm>
              <a:off x="1933348" y="2049168"/>
              <a:ext cx="1986632" cy="2682939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grpSp>
          <p:nvGrpSpPr>
            <p:cNvPr id="129" name="Group 167"/>
            <p:cNvGrpSpPr/>
            <p:nvPr/>
          </p:nvGrpSpPr>
          <p:grpSpPr>
            <a:xfrm>
              <a:off x="2541573" y="3732593"/>
              <a:ext cx="1463040" cy="640080"/>
              <a:chOff x="4197079" y="3088620"/>
              <a:chExt cx="1463040" cy="640080"/>
            </a:xfrm>
          </p:grpSpPr>
          <p:sp>
            <p:nvSpPr>
              <p:cNvPr id="130" name="Rectangle 168"/>
              <p:cNvSpPr/>
              <p:nvPr/>
            </p:nvSpPr>
            <p:spPr bwMode="auto">
              <a:xfrm>
                <a:off x="4197079" y="3088620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131" name="Group 169"/>
              <p:cNvGrpSpPr/>
              <p:nvPr/>
            </p:nvGrpSpPr>
            <p:grpSpPr>
              <a:xfrm>
                <a:off x="4228204" y="3117905"/>
                <a:ext cx="1400790" cy="581510"/>
                <a:chOff x="2908762" y="1637808"/>
                <a:chExt cx="1400790" cy="581510"/>
              </a:xfrm>
            </p:grpSpPr>
            <p:grpSp>
              <p:nvGrpSpPr>
                <p:cNvPr id="132" name="Group 170"/>
                <p:cNvGrpSpPr/>
                <p:nvPr/>
              </p:nvGrpSpPr>
              <p:grpSpPr>
                <a:xfrm>
                  <a:off x="2908762" y="1637808"/>
                  <a:ext cx="1400790" cy="276999"/>
                  <a:chOff x="403699" y="2662134"/>
                  <a:chExt cx="1728280" cy="276999"/>
                </a:xfrm>
                <a:solidFill>
                  <a:srgbClr val="FFFF00"/>
                </a:solidFill>
              </p:grpSpPr>
              <p:sp>
                <p:nvSpPr>
                  <p:cNvPr id="137" name="TextBox 136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2 </a:t>
                    </a:r>
                  </a:p>
                </p:txBody>
              </p:sp>
              <p:sp>
                <p:nvSpPr>
                  <p:cNvPr id="138" name="TextBox 137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3705 </a:t>
                    </a:r>
                  </a:p>
                </p:txBody>
              </p:sp>
              <p:sp>
                <p:nvSpPr>
                  <p:cNvPr id="139" name="TextBox 138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30 </a:t>
                    </a:r>
                  </a:p>
                </p:txBody>
              </p:sp>
            </p:grpSp>
            <p:grpSp>
              <p:nvGrpSpPr>
                <p:cNvPr id="133" name="Group 171"/>
                <p:cNvGrpSpPr/>
                <p:nvPr/>
              </p:nvGrpSpPr>
              <p:grpSpPr>
                <a:xfrm>
                  <a:off x="2908762" y="1942319"/>
                  <a:ext cx="1400790" cy="276999"/>
                  <a:chOff x="403699" y="2662134"/>
                  <a:chExt cx="1728280" cy="276999"/>
                </a:xfrm>
                <a:solidFill>
                  <a:schemeClr val="accent4">
                    <a:lumMod val="40000"/>
                    <a:lumOff val="60000"/>
                  </a:schemeClr>
                </a:solidFill>
              </p:grpSpPr>
              <p:sp>
                <p:nvSpPr>
                  <p:cNvPr id="134" name="TextBox 133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1 </a:t>
                    </a:r>
                  </a:p>
                </p:txBody>
              </p:sp>
              <p:sp>
                <p:nvSpPr>
                  <p:cNvPr id="135" name="TextBox 134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02115 </a:t>
                    </a:r>
                  </a:p>
                </p:txBody>
              </p:sp>
              <p:sp>
                <p:nvSpPr>
                  <p:cNvPr id="136" name="TextBox 135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15 </a:t>
                    </a:r>
                  </a:p>
                </p:txBody>
              </p:sp>
            </p:grpSp>
          </p:grpSp>
        </p:grpSp>
      </p:grpSp>
      <p:grpSp>
        <p:nvGrpSpPr>
          <p:cNvPr id="140" name="Group 107"/>
          <p:cNvGrpSpPr/>
          <p:nvPr/>
        </p:nvGrpSpPr>
        <p:grpSpPr>
          <a:xfrm>
            <a:off x="9024018" y="2002658"/>
            <a:ext cx="1478372" cy="276999"/>
            <a:chOff x="763623" y="2662134"/>
            <a:chExt cx="1368356" cy="276999"/>
          </a:xfrm>
          <a:solidFill>
            <a:schemeClr val="accent6"/>
          </a:solidFill>
        </p:grpSpPr>
        <p:sp>
          <p:nvSpPr>
            <p:cNvPr id="141" name="TextBox 140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10025 </a:t>
              </a: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60 </a:t>
              </a:r>
            </a:p>
          </p:txBody>
        </p:sp>
      </p:grpSp>
      <p:cxnSp>
        <p:nvCxnSpPr>
          <p:cNvPr id="143" name="Straight Arrow Connector 240"/>
          <p:cNvCxnSpPr>
            <a:stCxn id="217" idx="0"/>
          </p:cNvCxnSpPr>
          <p:nvPr/>
        </p:nvCxnSpPr>
        <p:spPr bwMode="auto">
          <a:xfrm flipV="1">
            <a:off x="8224173" y="1389378"/>
            <a:ext cx="791441" cy="158028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4" name="Straight Arrow Connector 242"/>
          <p:cNvCxnSpPr>
            <a:endCxn id="141" idx="1"/>
          </p:cNvCxnSpPr>
          <p:nvPr/>
        </p:nvCxnSpPr>
        <p:spPr bwMode="auto">
          <a:xfrm flipV="1">
            <a:off x="8521522" y="2141156"/>
            <a:ext cx="502497" cy="9041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5" name="Straight Arrow Connector 244"/>
          <p:cNvCxnSpPr>
            <a:stCxn id="218" idx="0"/>
          </p:cNvCxnSpPr>
          <p:nvPr/>
        </p:nvCxnSpPr>
        <p:spPr bwMode="auto">
          <a:xfrm flipV="1">
            <a:off x="8248796" y="4276958"/>
            <a:ext cx="769753" cy="41484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6" name="Straight Arrow Connector 246"/>
          <p:cNvCxnSpPr>
            <a:stCxn id="218" idx="2"/>
          </p:cNvCxnSpPr>
          <p:nvPr/>
        </p:nvCxnSpPr>
        <p:spPr bwMode="auto">
          <a:xfrm>
            <a:off x="8669310" y="4931431"/>
            <a:ext cx="370926" cy="6042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47" name="Group 256"/>
          <p:cNvGrpSpPr/>
          <p:nvPr/>
        </p:nvGrpSpPr>
        <p:grpSpPr>
          <a:xfrm>
            <a:off x="3723763" y="2456735"/>
            <a:ext cx="2629168" cy="1500062"/>
            <a:chOff x="1939905" y="2250829"/>
            <a:chExt cx="1972390" cy="1500062"/>
          </a:xfrm>
        </p:grpSpPr>
        <p:cxnSp>
          <p:nvCxnSpPr>
            <p:cNvPr id="148" name="Straight Arrow Connector 249"/>
            <p:cNvCxnSpPr>
              <a:stCxn id="43" idx="3"/>
              <a:endCxn id="112" idx="1"/>
            </p:cNvCxnSpPr>
            <p:nvPr/>
          </p:nvCxnSpPr>
          <p:spPr bwMode="auto">
            <a:xfrm flipV="1">
              <a:off x="1939905" y="3015044"/>
              <a:ext cx="1972390" cy="735847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grpSp>
          <p:nvGrpSpPr>
            <p:cNvPr id="149" name="Group 187"/>
            <p:cNvGrpSpPr/>
            <p:nvPr/>
          </p:nvGrpSpPr>
          <p:grpSpPr>
            <a:xfrm>
              <a:off x="2384875" y="2250829"/>
              <a:ext cx="1463040" cy="640080"/>
              <a:chOff x="2147742" y="3297889"/>
              <a:chExt cx="1463040" cy="640080"/>
            </a:xfrm>
          </p:grpSpPr>
          <p:sp>
            <p:nvSpPr>
              <p:cNvPr id="150" name="Rectangle 188"/>
              <p:cNvSpPr/>
              <p:nvPr/>
            </p:nvSpPr>
            <p:spPr bwMode="auto">
              <a:xfrm>
                <a:off x="2147742" y="3297889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151" name="Group 189"/>
              <p:cNvGrpSpPr/>
              <p:nvPr/>
            </p:nvGrpSpPr>
            <p:grpSpPr>
              <a:xfrm>
                <a:off x="2178867" y="3330694"/>
                <a:ext cx="1400790" cy="574471"/>
                <a:chOff x="305694" y="3500998"/>
                <a:chExt cx="1400790" cy="574471"/>
              </a:xfrm>
            </p:grpSpPr>
            <p:grpSp>
              <p:nvGrpSpPr>
                <p:cNvPr id="152" name="Group 190"/>
                <p:cNvGrpSpPr/>
                <p:nvPr/>
              </p:nvGrpSpPr>
              <p:grpSpPr>
                <a:xfrm>
                  <a:off x="305694" y="3500998"/>
                  <a:ext cx="1400790" cy="276999"/>
                  <a:chOff x="403699" y="2662134"/>
                  <a:chExt cx="1728280" cy="276999"/>
                </a:xfrm>
                <a:solidFill>
                  <a:srgbClr val="FFFF00"/>
                </a:solidFill>
              </p:grpSpPr>
              <p:sp>
                <p:nvSpPr>
                  <p:cNvPr id="157" name="TextBox 156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 </a:t>
                    </a:r>
                  </a:p>
                </p:txBody>
              </p:sp>
              <p:sp>
                <p:nvSpPr>
                  <p:cNvPr id="158" name="TextBox 157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3705 </a:t>
                    </a:r>
                  </a:p>
                </p:txBody>
              </p:sp>
              <p:sp>
                <p:nvSpPr>
                  <p:cNvPr id="159" name="TextBox 158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65 </a:t>
                    </a:r>
                  </a:p>
                </p:txBody>
              </p:sp>
            </p:grpSp>
            <p:grpSp>
              <p:nvGrpSpPr>
                <p:cNvPr id="153" name="Group 191"/>
                <p:cNvGrpSpPr/>
                <p:nvPr/>
              </p:nvGrpSpPr>
              <p:grpSpPr>
                <a:xfrm>
                  <a:off x="305694" y="3798470"/>
                  <a:ext cx="1400790" cy="276999"/>
                  <a:chOff x="403699" y="2662134"/>
                  <a:chExt cx="1728280" cy="276999"/>
                </a:xfrm>
                <a:solidFill>
                  <a:schemeClr val="tx2">
                    <a:lumMod val="40000"/>
                    <a:lumOff val="60000"/>
                  </a:schemeClr>
                </a:solidFill>
              </p:grpSpPr>
              <p:sp>
                <p:nvSpPr>
                  <p:cNvPr id="154" name="TextBox 153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0 </a:t>
                    </a:r>
                  </a:p>
                </p:txBody>
              </p:sp>
              <p:sp>
                <p:nvSpPr>
                  <p:cNvPr id="155" name="TextBox 154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4235</a:t>
                    </a:r>
                  </a:p>
                </p:txBody>
              </p:sp>
              <p:sp>
                <p:nvSpPr>
                  <p:cNvPr id="156" name="TextBox 155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22 </a:t>
                    </a:r>
                  </a:p>
                </p:txBody>
              </p:sp>
            </p:grpSp>
          </p:grpSp>
        </p:grpSp>
      </p:grpSp>
      <p:grpSp>
        <p:nvGrpSpPr>
          <p:cNvPr id="160" name="Group 255"/>
          <p:cNvGrpSpPr/>
          <p:nvPr/>
        </p:nvGrpSpPr>
        <p:grpSpPr>
          <a:xfrm>
            <a:off x="3723763" y="3956797"/>
            <a:ext cx="2648153" cy="1679824"/>
            <a:chOff x="1933348" y="3762827"/>
            <a:chExt cx="1986632" cy="1679824"/>
          </a:xfrm>
        </p:grpSpPr>
        <p:grpSp>
          <p:nvGrpSpPr>
            <p:cNvPr id="161" name="Group 198"/>
            <p:cNvGrpSpPr/>
            <p:nvPr/>
          </p:nvGrpSpPr>
          <p:grpSpPr>
            <a:xfrm>
              <a:off x="2384875" y="4802571"/>
              <a:ext cx="1463040" cy="640080"/>
              <a:chOff x="2105915" y="5411211"/>
              <a:chExt cx="1463040" cy="640080"/>
            </a:xfrm>
          </p:grpSpPr>
          <p:sp>
            <p:nvSpPr>
              <p:cNvPr id="163" name="Rectangle 199"/>
              <p:cNvSpPr/>
              <p:nvPr/>
            </p:nvSpPr>
            <p:spPr bwMode="auto">
              <a:xfrm>
                <a:off x="2105915" y="5411211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164" name="Group 200"/>
              <p:cNvGrpSpPr/>
              <p:nvPr/>
            </p:nvGrpSpPr>
            <p:grpSpPr>
              <a:xfrm>
                <a:off x="2136818" y="5439204"/>
                <a:ext cx="1401235" cy="584094"/>
                <a:chOff x="2971927" y="2440049"/>
                <a:chExt cx="1401235" cy="584094"/>
              </a:xfrm>
            </p:grpSpPr>
            <p:grpSp>
              <p:nvGrpSpPr>
                <p:cNvPr id="165" name="Group 201"/>
                <p:cNvGrpSpPr/>
                <p:nvPr/>
              </p:nvGrpSpPr>
              <p:grpSpPr>
                <a:xfrm>
                  <a:off x="2972372" y="2440049"/>
                  <a:ext cx="1400790" cy="276999"/>
                  <a:chOff x="403699" y="2662134"/>
                  <a:chExt cx="1728280" cy="276999"/>
                </a:xfrm>
                <a:solidFill>
                  <a:srgbClr val="FFFF00"/>
                </a:solidFill>
              </p:grpSpPr>
              <p:sp>
                <p:nvSpPr>
                  <p:cNvPr id="170" name="TextBox 169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 </a:t>
                    </a:r>
                  </a:p>
                </p:txBody>
              </p:sp>
              <p:sp>
                <p:nvSpPr>
                  <p:cNvPr id="171" name="TextBox 170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53705 </a:t>
                    </a:r>
                  </a:p>
                </p:txBody>
              </p:sp>
              <p:sp>
                <p:nvSpPr>
                  <p:cNvPr id="172" name="TextBox 171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15 </a:t>
                    </a:r>
                  </a:p>
                </p:txBody>
              </p:sp>
            </p:grpSp>
            <p:grpSp>
              <p:nvGrpSpPr>
                <p:cNvPr id="166" name="Group 202"/>
                <p:cNvGrpSpPr/>
                <p:nvPr/>
              </p:nvGrpSpPr>
              <p:grpSpPr>
                <a:xfrm>
                  <a:off x="2971927" y="2747144"/>
                  <a:ext cx="1400790" cy="276999"/>
                  <a:chOff x="403699" y="2662134"/>
                  <a:chExt cx="1728280" cy="276999"/>
                </a:xfrm>
                <a:solidFill>
                  <a:srgbClr val="B6FF23"/>
                </a:solidFill>
              </p:grpSpPr>
              <p:sp>
                <p:nvSpPr>
                  <p:cNvPr id="167" name="TextBox 166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6 </a:t>
                    </a:r>
                  </a:p>
                </p:txBody>
              </p:sp>
              <p:sp>
                <p:nvSpPr>
                  <p:cNvPr id="168" name="TextBox 167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44313 </a:t>
                    </a:r>
                  </a:p>
                </p:txBody>
              </p:sp>
              <p:sp>
                <p:nvSpPr>
                  <p:cNvPr id="169" name="TextBox 168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10 </a:t>
                    </a:r>
                  </a:p>
                </p:txBody>
              </p:sp>
            </p:grpSp>
          </p:grpSp>
        </p:grpSp>
        <p:cxnSp>
          <p:nvCxnSpPr>
            <p:cNvPr id="162" name="Straight Arrow Connector 254"/>
            <p:cNvCxnSpPr>
              <a:stCxn id="43" idx="3"/>
              <a:endCxn id="113" idx="1"/>
            </p:cNvCxnSpPr>
            <p:nvPr/>
          </p:nvCxnSpPr>
          <p:spPr bwMode="auto">
            <a:xfrm>
              <a:off x="1933348" y="3762827"/>
              <a:ext cx="1986632" cy="96928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cxnSp>
        <p:nvCxnSpPr>
          <p:cNvPr id="173" name="Straight Arrow Connector 258"/>
          <p:cNvCxnSpPr/>
          <p:nvPr/>
        </p:nvCxnSpPr>
        <p:spPr bwMode="auto">
          <a:xfrm flipV="1">
            <a:off x="7814005" y="3183542"/>
            <a:ext cx="1193984" cy="4934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4" name="Straight Arrow Connector 261"/>
          <p:cNvCxnSpPr>
            <a:stCxn id="217" idx="0"/>
          </p:cNvCxnSpPr>
          <p:nvPr/>
        </p:nvCxnSpPr>
        <p:spPr bwMode="auto">
          <a:xfrm flipV="1">
            <a:off x="8224173" y="1837486"/>
            <a:ext cx="791441" cy="113217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5" name="Straight Arrow Connector 263"/>
          <p:cNvCxnSpPr>
            <a:stCxn id="218" idx="1"/>
          </p:cNvCxnSpPr>
          <p:nvPr/>
        </p:nvCxnSpPr>
        <p:spPr bwMode="auto">
          <a:xfrm flipV="1">
            <a:off x="8546144" y="4591881"/>
            <a:ext cx="472404" cy="17010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6" name="Straight Arrow Connector 265"/>
          <p:cNvCxnSpPr/>
          <p:nvPr/>
        </p:nvCxnSpPr>
        <p:spPr bwMode="auto">
          <a:xfrm>
            <a:off x="8305278" y="5159752"/>
            <a:ext cx="698000" cy="45245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77" name="Group 273"/>
          <p:cNvGrpSpPr/>
          <p:nvPr/>
        </p:nvGrpSpPr>
        <p:grpSpPr>
          <a:xfrm>
            <a:off x="3723763" y="2831463"/>
            <a:ext cx="2629168" cy="2838994"/>
            <a:chOff x="1933348" y="2637493"/>
            <a:chExt cx="1972390" cy="2838994"/>
          </a:xfrm>
        </p:grpSpPr>
        <p:cxnSp>
          <p:nvCxnSpPr>
            <p:cNvPr id="178" name="Straight Arrow Connector 269"/>
            <p:cNvCxnSpPr>
              <a:stCxn id="46" idx="3"/>
              <a:endCxn id="112" idx="1"/>
            </p:cNvCxnSpPr>
            <p:nvPr/>
          </p:nvCxnSpPr>
          <p:spPr bwMode="auto">
            <a:xfrm flipV="1">
              <a:off x="1933348" y="3026980"/>
              <a:ext cx="1972390" cy="2449507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grpSp>
          <p:nvGrpSpPr>
            <p:cNvPr id="179" name="Group 210"/>
            <p:cNvGrpSpPr/>
            <p:nvPr/>
          </p:nvGrpSpPr>
          <p:grpSpPr>
            <a:xfrm>
              <a:off x="2211922" y="2637493"/>
              <a:ext cx="1463040" cy="640080"/>
              <a:chOff x="3683633" y="5479773"/>
              <a:chExt cx="1463040" cy="640080"/>
            </a:xfrm>
          </p:grpSpPr>
          <p:sp>
            <p:nvSpPr>
              <p:cNvPr id="180" name="Rectangle 211"/>
              <p:cNvSpPr/>
              <p:nvPr/>
            </p:nvSpPr>
            <p:spPr bwMode="auto">
              <a:xfrm>
                <a:off x="3683633" y="5479773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181" name="Group 212"/>
              <p:cNvGrpSpPr/>
              <p:nvPr/>
            </p:nvGrpSpPr>
            <p:grpSpPr>
              <a:xfrm>
                <a:off x="3714758" y="5513439"/>
                <a:ext cx="1400790" cy="572748"/>
                <a:chOff x="459037" y="2579073"/>
                <a:chExt cx="1400790" cy="572748"/>
              </a:xfrm>
            </p:grpSpPr>
            <p:grpSp>
              <p:nvGrpSpPr>
                <p:cNvPr id="182" name="Group 213"/>
                <p:cNvGrpSpPr/>
                <p:nvPr/>
              </p:nvGrpSpPr>
              <p:grpSpPr>
                <a:xfrm>
                  <a:off x="459037" y="2579073"/>
                  <a:ext cx="1400790" cy="276999"/>
                  <a:chOff x="403699" y="2662134"/>
                  <a:chExt cx="1728280" cy="276999"/>
                </a:xfrm>
                <a:solidFill>
                  <a:schemeClr val="accent6"/>
                </a:solidFill>
              </p:grpSpPr>
              <p:sp>
                <p:nvSpPr>
                  <p:cNvPr id="187" name="TextBox 186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3 </a:t>
                    </a:r>
                  </a:p>
                </p:txBody>
              </p:sp>
              <p:sp>
                <p:nvSpPr>
                  <p:cNvPr id="188" name="TextBox 187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10025 </a:t>
                    </a:r>
                  </a:p>
                </p:txBody>
              </p:sp>
              <p:sp>
                <p:nvSpPr>
                  <p:cNvPr id="189" name="TextBox 188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95 </a:t>
                    </a:r>
                  </a:p>
                </p:txBody>
              </p:sp>
            </p:grpSp>
            <p:grpSp>
              <p:nvGrpSpPr>
                <p:cNvPr id="183" name="Group 214"/>
                <p:cNvGrpSpPr/>
                <p:nvPr/>
              </p:nvGrpSpPr>
              <p:grpSpPr>
                <a:xfrm>
                  <a:off x="459037" y="2874822"/>
                  <a:ext cx="1400790" cy="276999"/>
                  <a:chOff x="403699" y="2662134"/>
                  <a:chExt cx="1728280" cy="276999"/>
                </a:xfrm>
                <a:solidFill>
                  <a:srgbClr val="B6FF23"/>
                </a:solidFill>
              </p:grpSpPr>
              <p:sp>
                <p:nvSpPr>
                  <p:cNvPr id="184" name="TextBox 183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8 </a:t>
                    </a:r>
                  </a:p>
                </p:txBody>
              </p:sp>
              <p:sp>
                <p:nvSpPr>
                  <p:cNvPr id="185" name="TextBox 184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44313 </a:t>
                    </a:r>
                  </a:p>
                </p:txBody>
              </p:sp>
              <p:sp>
                <p:nvSpPr>
                  <p:cNvPr id="186" name="TextBox 185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55 </a:t>
                    </a:r>
                  </a:p>
                </p:txBody>
              </p:sp>
            </p:grpSp>
          </p:grpSp>
        </p:grpSp>
      </p:grpSp>
      <p:grpSp>
        <p:nvGrpSpPr>
          <p:cNvPr id="190" name="Group 272"/>
          <p:cNvGrpSpPr/>
          <p:nvPr/>
        </p:nvGrpSpPr>
        <p:grpSpPr>
          <a:xfrm>
            <a:off x="3723763" y="4926079"/>
            <a:ext cx="3600030" cy="1006165"/>
            <a:chOff x="1933348" y="4732107"/>
            <a:chExt cx="2700726" cy="1006165"/>
          </a:xfrm>
        </p:grpSpPr>
        <p:cxnSp>
          <p:nvCxnSpPr>
            <p:cNvPr id="191" name="Straight Arrow Connector 271"/>
            <p:cNvCxnSpPr>
              <a:stCxn id="46" idx="3"/>
              <a:endCxn id="113" idx="1"/>
            </p:cNvCxnSpPr>
            <p:nvPr/>
          </p:nvCxnSpPr>
          <p:spPr bwMode="auto">
            <a:xfrm flipV="1">
              <a:off x="1933348" y="4732107"/>
              <a:ext cx="1986632" cy="74438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grpSp>
          <p:nvGrpSpPr>
            <p:cNvPr id="192" name="Group 221"/>
            <p:cNvGrpSpPr/>
            <p:nvPr/>
          </p:nvGrpSpPr>
          <p:grpSpPr>
            <a:xfrm>
              <a:off x="3171034" y="5098192"/>
              <a:ext cx="1463040" cy="640080"/>
              <a:chOff x="2939448" y="4373217"/>
              <a:chExt cx="1463040" cy="640080"/>
            </a:xfrm>
          </p:grpSpPr>
          <p:sp>
            <p:nvSpPr>
              <p:cNvPr id="193" name="Rectangle 222"/>
              <p:cNvSpPr/>
              <p:nvPr/>
            </p:nvSpPr>
            <p:spPr bwMode="auto">
              <a:xfrm>
                <a:off x="2939448" y="4373217"/>
                <a:ext cx="1463040" cy="640080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grpSp>
            <p:nvGrpSpPr>
              <p:cNvPr id="194" name="Group 223"/>
              <p:cNvGrpSpPr/>
              <p:nvPr/>
            </p:nvGrpSpPr>
            <p:grpSpPr>
              <a:xfrm>
                <a:off x="2970351" y="4406868"/>
                <a:ext cx="1401235" cy="572779"/>
                <a:chOff x="2971927" y="3607099"/>
                <a:chExt cx="1401235" cy="572779"/>
              </a:xfrm>
            </p:grpSpPr>
            <p:grpSp>
              <p:nvGrpSpPr>
                <p:cNvPr id="195" name="Group 224"/>
                <p:cNvGrpSpPr/>
                <p:nvPr/>
              </p:nvGrpSpPr>
              <p:grpSpPr>
                <a:xfrm>
                  <a:off x="2972372" y="3902879"/>
                  <a:ext cx="1400790" cy="276999"/>
                  <a:chOff x="403699" y="2662134"/>
                  <a:chExt cx="1728280" cy="276999"/>
                </a:xfrm>
                <a:solidFill>
                  <a:schemeClr val="accent4">
                    <a:lumMod val="40000"/>
                    <a:lumOff val="60000"/>
                  </a:schemeClr>
                </a:solidFill>
              </p:grpSpPr>
              <p:sp>
                <p:nvSpPr>
                  <p:cNvPr id="200" name="TextBox 199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9 </a:t>
                    </a:r>
                  </a:p>
                </p:txBody>
              </p:sp>
              <p:sp>
                <p:nvSpPr>
                  <p:cNvPr id="201" name="TextBox 200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02115 </a:t>
                    </a:r>
                  </a:p>
                </p:txBody>
              </p:sp>
              <p:sp>
                <p:nvSpPr>
                  <p:cNvPr id="202" name="TextBox 201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15 </a:t>
                    </a:r>
                  </a:p>
                </p:txBody>
              </p:sp>
            </p:grpSp>
            <p:grpSp>
              <p:nvGrpSpPr>
                <p:cNvPr id="196" name="Group 225"/>
                <p:cNvGrpSpPr/>
                <p:nvPr/>
              </p:nvGrpSpPr>
              <p:grpSpPr>
                <a:xfrm>
                  <a:off x="2971927" y="3607099"/>
                  <a:ext cx="1400790" cy="276999"/>
                  <a:chOff x="403699" y="2662134"/>
                  <a:chExt cx="1728280" cy="276999"/>
                </a:xfrm>
                <a:solidFill>
                  <a:srgbClr val="B6FF23"/>
                </a:solidFill>
              </p:grpSpPr>
              <p:sp>
                <p:nvSpPr>
                  <p:cNvPr id="197" name="TextBox 196"/>
                  <p:cNvSpPr txBox="1"/>
                  <p:nvPr/>
                </p:nvSpPr>
                <p:spPr>
                  <a:xfrm>
                    <a:off x="403699" y="2662134"/>
                    <a:ext cx="359924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6 </a:t>
                    </a:r>
                  </a:p>
                </p:txBody>
              </p:sp>
              <p:sp>
                <p:nvSpPr>
                  <p:cNvPr id="198" name="TextBox 197"/>
                  <p:cNvSpPr txBox="1"/>
                  <p:nvPr/>
                </p:nvSpPr>
                <p:spPr>
                  <a:xfrm>
                    <a:off x="763623" y="2662134"/>
                    <a:ext cx="752269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44313 </a:t>
                    </a:r>
                  </a:p>
                </p:txBody>
              </p:sp>
              <p:sp>
                <p:nvSpPr>
                  <p:cNvPr id="199" name="TextBox 198"/>
                  <p:cNvSpPr txBox="1"/>
                  <p:nvPr/>
                </p:nvSpPr>
                <p:spPr>
                  <a:xfrm>
                    <a:off x="1515892" y="2662134"/>
                    <a:ext cx="616087" cy="276999"/>
                  </a:xfrm>
                  <a:prstGeom prst="rect">
                    <a:avLst/>
                  </a:prstGeom>
                  <a:grpFill/>
                  <a:ln>
                    <a:solidFill>
                      <a:schemeClr val="tx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200" dirty="0">
                        <a:solidFill>
                          <a:srgbClr val="01020B"/>
                        </a:solidFill>
                        <a:latin typeface="+mj-lt"/>
                      </a:rPr>
                      <a:t>$25 </a:t>
                    </a:r>
                  </a:p>
                </p:txBody>
              </p:sp>
            </p:grpSp>
          </p:grpSp>
        </p:grpSp>
      </p:grpSp>
      <p:cxnSp>
        <p:nvCxnSpPr>
          <p:cNvPr id="203" name="Straight Arrow Connector 275"/>
          <p:cNvCxnSpPr>
            <a:stCxn id="217" idx="1"/>
          </p:cNvCxnSpPr>
          <p:nvPr/>
        </p:nvCxnSpPr>
        <p:spPr bwMode="auto">
          <a:xfrm flipV="1">
            <a:off x="8521522" y="2436415"/>
            <a:ext cx="506291" cy="60343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4" name="Straight Arrow Connector 279"/>
          <p:cNvCxnSpPr/>
          <p:nvPr/>
        </p:nvCxnSpPr>
        <p:spPr bwMode="auto">
          <a:xfrm flipV="1">
            <a:off x="8644686" y="2893896"/>
            <a:ext cx="383126" cy="29429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5" name="Straight Arrow Connector 281"/>
          <p:cNvCxnSpPr>
            <a:stCxn id="218" idx="4"/>
          </p:cNvCxnSpPr>
          <p:nvPr/>
        </p:nvCxnSpPr>
        <p:spPr bwMode="auto">
          <a:xfrm>
            <a:off x="8248796" y="5171063"/>
            <a:ext cx="769753" cy="75098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6" name="Straight Arrow Connector 283"/>
          <p:cNvCxnSpPr>
            <a:stCxn id="218" idx="3"/>
          </p:cNvCxnSpPr>
          <p:nvPr/>
        </p:nvCxnSpPr>
        <p:spPr bwMode="auto">
          <a:xfrm>
            <a:off x="8546145" y="5100875"/>
            <a:ext cx="494091" cy="22493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207" name="Group 292"/>
          <p:cNvGrpSpPr/>
          <p:nvPr/>
        </p:nvGrpSpPr>
        <p:grpSpPr>
          <a:xfrm>
            <a:off x="9024018" y="2304406"/>
            <a:ext cx="1478372" cy="276999"/>
            <a:chOff x="763623" y="2662134"/>
            <a:chExt cx="1368356" cy="276999"/>
          </a:xfrm>
          <a:solidFill>
            <a:schemeClr val="accent6"/>
          </a:solidFill>
        </p:grpSpPr>
        <p:sp>
          <p:nvSpPr>
            <p:cNvPr id="208" name="TextBox 207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10025 </a:t>
              </a: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95 </a:t>
              </a:r>
            </a:p>
          </p:txBody>
        </p:sp>
      </p:grpSp>
      <p:sp>
        <p:nvSpPr>
          <p:cNvPr id="210" name="Rectangle 2"/>
          <p:cNvSpPr/>
          <p:nvPr/>
        </p:nvSpPr>
        <p:spPr>
          <a:xfrm rot="16200000">
            <a:off x="768875" y="2118073"/>
            <a:ext cx="115608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500" dirty="0">
                <a:latin typeface="+mj-lt"/>
              </a:rPr>
              <a:t>DataNode3</a:t>
            </a:r>
          </a:p>
        </p:txBody>
      </p:sp>
      <p:sp>
        <p:nvSpPr>
          <p:cNvPr id="211" name="Rectangle 209"/>
          <p:cNvSpPr/>
          <p:nvPr/>
        </p:nvSpPr>
        <p:spPr>
          <a:xfrm rot="16200000">
            <a:off x="768875" y="3829163"/>
            <a:ext cx="115608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500" dirty="0">
                <a:latin typeface="+mj-lt"/>
              </a:rPr>
              <a:t>DataNode2</a:t>
            </a:r>
          </a:p>
        </p:txBody>
      </p:sp>
      <p:sp>
        <p:nvSpPr>
          <p:cNvPr id="212" name="Rectangle 233"/>
          <p:cNvSpPr/>
          <p:nvPr/>
        </p:nvSpPr>
        <p:spPr>
          <a:xfrm rot="16200000">
            <a:off x="768875" y="5540253"/>
            <a:ext cx="115608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500" dirty="0">
                <a:latin typeface="+mj-lt"/>
              </a:rPr>
              <a:t>DataNode1</a:t>
            </a:r>
          </a:p>
        </p:txBody>
      </p:sp>
      <p:grpSp>
        <p:nvGrpSpPr>
          <p:cNvPr id="213" name="Group 234"/>
          <p:cNvGrpSpPr/>
          <p:nvPr/>
        </p:nvGrpSpPr>
        <p:grpSpPr>
          <a:xfrm>
            <a:off x="56997" y="1250879"/>
            <a:ext cx="3964227" cy="5343788"/>
            <a:chOff x="987050" y="3158401"/>
            <a:chExt cx="1769142" cy="5343788"/>
          </a:xfrm>
        </p:grpSpPr>
        <p:sp>
          <p:nvSpPr>
            <p:cNvPr id="214" name="Rounded Rectangle 235"/>
            <p:cNvSpPr/>
            <p:nvPr/>
          </p:nvSpPr>
          <p:spPr>
            <a:xfrm>
              <a:off x="1466590" y="3158401"/>
              <a:ext cx="1289602" cy="5343788"/>
            </a:xfrm>
            <a:prstGeom prst="roundRect">
              <a:avLst>
                <a:gd name="adj" fmla="val 10941"/>
              </a:avLst>
            </a:prstGeom>
            <a:noFill/>
            <a:ln w="28575">
              <a:solidFill>
                <a:schemeClr val="tx1"/>
              </a:solidFill>
              <a:prstDash val="dash"/>
            </a:ln>
            <a:effectLst>
              <a:outerShdw dist="25400" dir="2700000" sx="0" sy="0" algn="br" rotWithShape="0">
                <a:srgbClr val="000000"/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215" name="Straight Arrow Connector 236"/>
            <p:cNvCxnSpPr/>
            <p:nvPr/>
          </p:nvCxnSpPr>
          <p:spPr>
            <a:xfrm>
              <a:off x="1323355" y="4833033"/>
              <a:ext cx="96535" cy="948968"/>
            </a:xfrm>
            <a:prstGeom prst="straightConnector1">
              <a:avLst/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6" name="TextBox 13"/>
            <p:cNvSpPr txBox="1"/>
            <p:nvPr/>
          </p:nvSpPr>
          <p:spPr>
            <a:xfrm>
              <a:off x="987050" y="3711463"/>
              <a:ext cx="479540" cy="116955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dirty="0">
                  <a:solidFill>
                    <a:srgbClr val="FFFF00"/>
                  </a:solidFill>
                </a:rPr>
                <a:t>Blocks </a:t>
              </a:r>
            </a:p>
            <a:p>
              <a:r>
                <a:rPr lang="en-US" sz="1400" dirty="0">
                  <a:solidFill>
                    <a:srgbClr val="FFFF00"/>
                  </a:solidFill>
                </a:rPr>
                <a:t>of the </a:t>
              </a:r>
            </a:p>
            <a:p>
              <a:r>
                <a:rPr lang="en-US" sz="1400" dirty="0">
                  <a:solidFill>
                    <a:srgbClr val="FFFF00"/>
                  </a:solidFill>
                </a:rPr>
                <a:t>Sales </a:t>
              </a:r>
            </a:p>
            <a:p>
              <a:r>
                <a:rPr lang="en-US" sz="1400" dirty="0">
                  <a:solidFill>
                    <a:srgbClr val="FFFF00"/>
                  </a:solidFill>
                </a:rPr>
                <a:t>file in </a:t>
              </a:r>
            </a:p>
            <a:p>
              <a:r>
                <a:rPr lang="en-US" sz="1400" dirty="0">
                  <a:solidFill>
                    <a:srgbClr val="FFFF00"/>
                  </a:solidFill>
                </a:rPr>
                <a:t>HDFS</a:t>
              </a:r>
            </a:p>
          </p:txBody>
        </p:sp>
      </p:grpSp>
      <p:sp>
        <p:nvSpPr>
          <p:cNvPr id="217" name="Oval 245"/>
          <p:cNvSpPr/>
          <p:nvPr/>
        </p:nvSpPr>
        <p:spPr bwMode="auto">
          <a:xfrm flipH="1">
            <a:off x="7803658" y="2969664"/>
            <a:ext cx="841029" cy="479261"/>
          </a:xfrm>
          <a:prstGeom prst="ellipse">
            <a:avLst/>
          </a:prstGeom>
          <a:solidFill>
            <a:srgbClr val="FFC000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1020B"/>
                </a:solidFill>
                <a:latin typeface="+mj-lt"/>
              </a:rPr>
              <a:t>Group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1020B"/>
                </a:solidFill>
                <a:latin typeface="+mj-lt"/>
              </a:rPr>
              <a:t>By</a:t>
            </a:r>
          </a:p>
        </p:txBody>
      </p:sp>
      <p:sp>
        <p:nvSpPr>
          <p:cNvPr id="218" name="Oval 247"/>
          <p:cNvSpPr/>
          <p:nvPr/>
        </p:nvSpPr>
        <p:spPr bwMode="auto">
          <a:xfrm flipH="1">
            <a:off x="7828281" y="4691802"/>
            <a:ext cx="841029" cy="479261"/>
          </a:xfrm>
          <a:prstGeom prst="ellipse">
            <a:avLst/>
          </a:prstGeom>
          <a:solidFill>
            <a:srgbClr val="FFC000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1020B"/>
                </a:solidFill>
                <a:latin typeface="+mj-lt"/>
              </a:rPr>
              <a:t>Group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1020B"/>
                </a:solidFill>
                <a:latin typeface="+mj-lt"/>
              </a:rPr>
              <a:t>By</a:t>
            </a:r>
          </a:p>
        </p:txBody>
      </p:sp>
      <p:sp>
        <p:nvSpPr>
          <p:cNvPr id="219" name="TextBox 218"/>
          <p:cNvSpPr txBox="1"/>
          <p:nvPr/>
        </p:nvSpPr>
        <p:spPr>
          <a:xfrm>
            <a:off x="918732" y="144093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 err="1">
              <a:solidFill>
                <a:srgbClr val="01020B"/>
              </a:solidFill>
              <a:latin typeface="+mj-lt"/>
            </a:endParaRPr>
          </a:p>
        </p:txBody>
      </p:sp>
      <p:sp>
        <p:nvSpPr>
          <p:cNvPr id="220" name="TextBox 13"/>
          <p:cNvSpPr txBox="1"/>
          <p:nvPr/>
        </p:nvSpPr>
        <p:spPr>
          <a:xfrm>
            <a:off x="1041853" y="1210909"/>
            <a:ext cx="3234247" cy="307777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rgbClr val="FFFF00"/>
                </a:solidFill>
              </a:rPr>
              <a:t>(</a:t>
            </a:r>
            <a:r>
              <a:rPr lang="en-US" sz="1400" dirty="0" err="1">
                <a:solidFill>
                  <a:srgbClr val="FFFF00"/>
                </a:solidFill>
              </a:rPr>
              <a:t>custId</a:t>
            </a:r>
            <a:r>
              <a:rPr lang="en-US" sz="1400" dirty="0">
                <a:solidFill>
                  <a:srgbClr val="FFFF00"/>
                </a:solidFill>
              </a:rPr>
              <a:t>, </a:t>
            </a:r>
            <a:r>
              <a:rPr lang="en-US" sz="1400" dirty="0" err="1">
                <a:solidFill>
                  <a:srgbClr val="FFFF00"/>
                </a:solidFill>
              </a:rPr>
              <a:t>zipCode</a:t>
            </a:r>
            <a:r>
              <a:rPr lang="en-US" sz="1400" dirty="0">
                <a:solidFill>
                  <a:srgbClr val="FFFF00"/>
                </a:solidFill>
              </a:rPr>
              <a:t>, amount)</a:t>
            </a:r>
          </a:p>
        </p:txBody>
      </p:sp>
      <p:grpSp>
        <p:nvGrpSpPr>
          <p:cNvPr id="221" name="Group 6"/>
          <p:cNvGrpSpPr/>
          <p:nvPr/>
        </p:nvGrpSpPr>
        <p:grpSpPr>
          <a:xfrm>
            <a:off x="8950433" y="1201384"/>
            <a:ext cx="1612745" cy="5043585"/>
            <a:chOff x="6713381" y="1201382"/>
            <a:chExt cx="1209874" cy="5043585"/>
          </a:xfrm>
        </p:grpSpPr>
        <p:sp>
          <p:nvSpPr>
            <p:cNvPr id="222" name="Rectangle 5"/>
            <p:cNvSpPr/>
            <p:nvPr/>
          </p:nvSpPr>
          <p:spPr bwMode="auto">
            <a:xfrm>
              <a:off x="6713381" y="1201382"/>
              <a:ext cx="1209874" cy="692751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sp>
          <p:nvSpPr>
            <p:cNvPr id="223" name="Rectangle 250"/>
            <p:cNvSpPr/>
            <p:nvPr/>
          </p:nvSpPr>
          <p:spPr bwMode="auto">
            <a:xfrm>
              <a:off x="6713381" y="1962171"/>
              <a:ext cx="1209874" cy="960120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sp>
          <p:nvSpPr>
            <p:cNvPr id="224" name="Rectangle 251"/>
            <p:cNvSpPr/>
            <p:nvPr/>
          </p:nvSpPr>
          <p:spPr bwMode="auto">
            <a:xfrm>
              <a:off x="6713381" y="2976462"/>
              <a:ext cx="1209874" cy="423533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sp>
          <p:nvSpPr>
            <p:cNvPr id="225" name="Rectangle 252"/>
            <p:cNvSpPr/>
            <p:nvPr/>
          </p:nvSpPr>
          <p:spPr bwMode="auto">
            <a:xfrm>
              <a:off x="6713381" y="4019317"/>
              <a:ext cx="1209874" cy="692751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sp>
          <p:nvSpPr>
            <p:cNvPr id="226" name="Rectangle 253"/>
            <p:cNvSpPr/>
            <p:nvPr/>
          </p:nvSpPr>
          <p:spPr bwMode="auto">
            <a:xfrm>
              <a:off x="6713381" y="4793709"/>
              <a:ext cx="1209874" cy="692751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sp>
          <p:nvSpPr>
            <p:cNvPr id="227" name="Rectangle 257"/>
            <p:cNvSpPr/>
            <p:nvPr/>
          </p:nvSpPr>
          <p:spPr bwMode="auto">
            <a:xfrm>
              <a:off x="6713381" y="5552216"/>
              <a:ext cx="1209874" cy="692751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</p:grpSp>
      <p:grpSp>
        <p:nvGrpSpPr>
          <p:cNvPr id="228" name="Group 14"/>
          <p:cNvGrpSpPr/>
          <p:nvPr/>
        </p:nvGrpSpPr>
        <p:grpSpPr>
          <a:xfrm>
            <a:off x="10473961" y="2396343"/>
            <a:ext cx="1665667" cy="2708045"/>
            <a:chOff x="7923256" y="2443966"/>
            <a:chExt cx="1249576" cy="2708045"/>
          </a:xfrm>
        </p:grpSpPr>
        <p:sp>
          <p:nvSpPr>
            <p:cNvPr id="229" name="TextBox 15"/>
            <p:cNvSpPr txBox="1"/>
            <p:nvPr/>
          </p:nvSpPr>
          <p:spPr>
            <a:xfrm>
              <a:off x="7923256" y="3432044"/>
              <a:ext cx="1249576" cy="5232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One output bucket  per reduce  task</a:t>
              </a:r>
            </a:p>
          </p:txBody>
        </p:sp>
        <p:cxnSp>
          <p:nvCxnSpPr>
            <p:cNvPr id="230" name="Straight Arrow Connector 262"/>
            <p:cNvCxnSpPr/>
            <p:nvPr/>
          </p:nvCxnSpPr>
          <p:spPr>
            <a:xfrm flipH="1" flipV="1">
              <a:off x="8029575" y="2443966"/>
              <a:ext cx="532757" cy="975080"/>
            </a:xfrm>
            <a:prstGeom prst="straightConnector1">
              <a:avLst/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Arrow Connector 264"/>
            <p:cNvCxnSpPr/>
            <p:nvPr/>
          </p:nvCxnSpPr>
          <p:spPr>
            <a:xfrm flipH="1">
              <a:off x="8058150" y="4176931"/>
              <a:ext cx="532757" cy="975080"/>
            </a:xfrm>
            <a:prstGeom prst="straightConnector1">
              <a:avLst/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2491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750"/>
                            </p:stCondLst>
                            <p:childTnLst>
                              <p:par>
                                <p:cTn id="46" presetID="10" presetClass="exit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25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25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25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2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2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2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00"/>
                            </p:stCondLst>
                            <p:childTnLst>
                              <p:par>
                                <p:cTn id="7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500"/>
                            </p:stCondLst>
                            <p:childTnLst>
                              <p:par>
                                <p:cTn id="8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0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2500"/>
                            </p:stCondLst>
                            <p:childTnLst>
                              <p:par>
                                <p:cTn id="94" presetID="1" presetClass="exit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3000"/>
                            </p:stCondLst>
                            <p:childTnLst>
                              <p:par>
                                <p:cTn id="10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25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25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500"/>
                            </p:stCondLst>
                            <p:childTnLst>
                              <p:par>
                                <p:cTn id="1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500"/>
                            </p:stCondLst>
                            <p:childTnLst>
                              <p:par>
                                <p:cTn id="12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2000"/>
                            </p:stCondLst>
                            <p:childTnLst>
                              <p:par>
                                <p:cTn id="13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2500"/>
                            </p:stCondLst>
                            <p:childTnLst>
                              <p:par>
                                <p:cTn id="137" presetID="10" presetClass="exit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25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0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1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4" dur="25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25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25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25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7" grpId="0" animBg="1"/>
      <p:bldP spid="21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Reduce</a:t>
            </a:r>
            <a:endParaRPr lang="ko-KR" altLang="en-US"/>
          </a:p>
        </p:txBody>
      </p:sp>
      <p:sp>
        <p:nvSpPr>
          <p:cNvPr id="3" name="Rounded Rectangle 233"/>
          <p:cNvSpPr/>
          <p:nvPr/>
        </p:nvSpPr>
        <p:spPr bwMode="auto">
          <a:xfrm>
            <a:off x="374921" y="3996235"/>
            <a:ext cx="3345591" cy="2743200"/>
          </a:xfrm>
          <a:prstGeom prst="round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Rounded Rectangle 289"/>
          <p:cNvSpPr/>
          <p:nvPr/>
        </p:nvSpPr>
        <p:spPr bwMode="auto">
          <a:xfrm>
            <a:off x="374921" y="913622"/>
            <a:ext cx="3345591" cy="2743200"/>
          </a:xfrm>
          <a:prstGeom prst="round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1003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5" name="Group 8"/>
          <p:cNvGrpSpPr/>
          <p:nvPr/>
        </p:nvGrpSpPr>
        <p:grpSpPr>
          <a:xfrm>
            <a:off x="5111483" y="4634309"/>
            <a:ext cx="6094413" cy="2071125"/>
            <a:chOff x="5818969" y="4634307"/>
            <a:chExt cx="2544928" cy="2071125"/>
          </a:xfrm>
        </p:grpSpPr>
        <p:sp>
          <p:nvSpPr>
            <p:cNvPr id="6" name="Rounded Rectangle 239"/>
            <p:cNvSpPr/>
            <p:nvPr/>
          </p:nvSpPr>
          <p:spPr bwMode="auto">
            <a:xfrm>
              <a:off x="5818969" y="5041224"/>
              <a:ext cx="2544928" cy="1664208"/>
            </a:xfrm>
            <a:prstGeom prst="round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7" name="Rounded Rectangle 241"/>
            <p:cNvSpPr/>
            <p:nvPr/>
          </p:nvSpPr>
          <p:spPr bwMode="auto">
            <a:xfrm>
              <a:off x="6563244" y="4634307"/>
              <a:ext cx="1060315" cy="428017"/>
            </a:xfrm>
            <a:prstGeom prst="roundRect">
              <a:avLst/>
            </a:prstGeom>
            <a:solidFill>
              <a:srgbClr val="E7E200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ducer</a:t>
              </a:r>
            </a:p>
          </p:txBody>
        </p:sp>
      </p:grpSp>
      <p:grpSp>
        <p:nvGrpSpPr>
          <p:cNvPr id="8" name="Group 6"/>
          <p:cNvGrpSpPr/>
          <p:nvPr/>
        </p:nvGrpSpPr>
        <p:grpSpPr>
          <a:xfrm>
            <a:off x="5111483" y="2379072"/>
            <a:ext cx="6094413" cy="2093403"/>
            <a:chOff x="5818969" y="2426695"/>
            <a:chExt cx="2544928" cy="2093403"/>
          </a:xfrm>
        </p:grpSpPr>
        <p:sp>
          <p:nvSpPr>
            <p:cNvPr id="9" name="Rounded Rectangle 237"/>
            <p:cNvSpPr/>
            <p:nvPr/>
          </p:nvSpPr>
          <p:spPr bwMode="auto">
            <a:xfrm>
              <a:off x="5818969" y="2855890"/>
              <a:ext cx="2544928" cy="1664208"/>
            </a:xfrm>
            <a:prstGeom prst="round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10" name="Rounded Rectangle 238"/>
            <p:cNvSpPr/>
            <p:nvPr/>
          </p:nvSpPr>
          <p:spPr bwMode="auto">
            <a:xfrm>
              <a:off x="6567818" y="2426695"/>
              <a:ext cx="1060315" cy="428017"/>
            </a:xfrm>
            <a:prstGeom prst="roundRect">
              <a:avLst/>
            </a:prstGeom>
            <a:solidFill>
              <a:srgbClr val="E7E200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ducer</a:t>
              </a:r>
            </a:p>
          </p:txBody>
        </p:sp>
      </p:grpSp>
      <p:grpSp>
        <p:nvGrpSpPr>
          <p:cNvPr id="11" name="Group 203"/>
          <p:cNvGrpSpPr/>
          <p:nvPr/>
        </p:nvGrpSpPr>
        <p:grpSpPr>
          <a:xfrm>
            <a:off x="3641068" y="221673"/>
            <a:ext cx="7758551" cy="6583014"/>
            <a:chOff x="2293499" y="3897940"/>
            <a:chExt cx="1592783" cy="6709067"/>
          </a:xfrm>
        </p:grpSpPr>
        <p:sp>
          <p:nvSpPr>
            <p:cNvPr id="12" name="Rounded Rectangle 204"/>
            <p:cNvSpPr/>
            <p:nvPr/>
          </p:nvSpPr>
          <p:spPr>
            <a:xfrm>
              <a:off x="2568532" y="3897940"/>
              <a:ext cx="1317750" cy="6709067"/>
            </a:xfrm>
            <a:prstGeom prst="roundRect">
              <a:avLst>
                <a:gd name="adj" fmla="val 7181"/>
              </a:avLst>
            </a:prstGeom>
            <a:noFill/>
            <a:ln w="28575">
              <a:solidFill>
                <a:schemeClr val="tx1"/>
              </a:solidFill>
              <a:prstDash val="dash"/>
            </a:ln>
            <a:effectLst>
              <a:outerShdw dist="25400" dir="2700000" sx="0" sy="0" algn="br" rotWithShape="0">
                <a:srgbClr val="000000"/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3" name="Straight Arrow Connector 206"/>
            <p:cNvCxnSpPr>
              <a:stCxn id="14" idx="0"/>
              <a:endCxn id="85" idx="3"/>
            </p:cNvCxnSpPr>
            <p:nvPr/>
          </p:nvCxnSpPr>
          <p:spPr>
            <a:xfrm flipV="1">
              <a:off x="2444432" y="7720686"/>
              <a:ext cx="139234" cy="542984"/>
            </a:xfrm>
            <a:prstGeom prst="straightConnector1">
              <a:avLst/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5"/>
            <p:cNvSpPr txBox="1"/>
            <p:nvPr/>
          </p:nvSpPr>
          <p:spPr>
            <a:xfrm>
              <a:off x="2293499" y="8263670"/>
              <a:ext cx="301867" cy="31367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rgbClr val="FFFF00"/>
                  </a:solidFill>
                </a:rPr>
                <a:t>Reduce tasks</a:t>
              </a:r>
            </a:p>
          </p:txBody>
        </p:sp>
      </p:grpSp>
      <p:sp>
        <p:nvSpPr>
          <p:cNvPr id="15" name="Rounded Rectangle 344"/>
          <p:cNvSpPr/>
          <p:nvPr/>
        </p:nvSpPr>
        <p:spPr bwMode="auto">
          <a:xfrm>
            <a:off x="4146535" y="5044692"/>
            <a:ext cx="1701357" cy="1661449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1020B"/>
              </a:solidFill>
              <a:latin typeface="+mj-lt"/>
            </a:endParaRPr>
          </a:p>
        </p:txBody>
      </p:sp>
      <p:sp>
        <p:nvSpPr>
          <p:cNvPr id="16" name="Rounded Rectangle 343"/>
          <p:cNvSpPr/>
          <p:nvPr/>
        </p:nvSpPr>
        <p:spPr bwMode="auto">
          <a:xfrm>
            <a:off x="4146535" y="2830076"/>
            <a:ext cx="1701357" cy="1661449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1020B"/>
              </a:solidFill>
              <a:latin typeface="+mj-lt"/>
            </a:endParaRPr>
          </a:p>
        </p:txBody>
      </p:sp>
      <p:grpSp>
        <p:nvGrpSpPr>
          <p:cNvPr id="17" name="Group 7"/>
          <p:cNvGrpSpPr/>
          <p:nvPr/>
        </p:nvGrpSpPr>
        <p:grpSpPr>
          <a:xfrm>
            <a:off x="5111483" y="176085"/>
            <a:ext cx="6094413" cy="2095535"/>
            <a:chOff x="5818969" y="176083"/>
            <a:chExt cx="2544928" cy="2095535"/>
          </a:xfrm>
        </p:grpSpPr>
        <p:sp>
          <p:nvSpPr>
            <p:cNvPr id="18" name="Rounded Rectangle 290"/>
            <p:cNvSpPr/>
            <p:nvPr/>
          </p:nvSpPr>
          <p:spPr bwMode="auto">
            <a:xfrm>
              <a:off x="5818969" y="607410"/>
              <a:ext cx="2544928" cy="1664208"/>
            </a:xfrm>
            <a:prstGeom prst="round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Rounded Rectangle 236"/>
            <p:cNvSpPr/>
            <p:nvPr/>
          </p:nvSpPr>
          <p:spPr bwMode="auto">
            <a:xfrm>
              <a:off x="6589739" y="176083"/>
              <a:ext cx="1060315" cy="428017"/>
            </a:xfrm>
            <a:prstGeom prst="roundRect">
              <a:avLst/>
            </a:prstGeom>
            <a:solidFill>
              <a:srgbClr val="E7E200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Reducer</a:t>
              </a:r>
            </a:p>
          </p:txBody>
        </p:sp>
      </p:grpSp>
      <p:sp>
        <p:nvSpPr>
          <p:cNvPr id="20" name="Rounded Rectangle 342"/>
          <p:cNvSpPr/>
          <p:nvPr/>
        </p:nvSpPr>
        <p:spPr bwMode="auto">
          <a:xfrm>
            <a:off x="4147609" y="884878"/>
            <a:ext cx="1701357" cy="1098341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1020B"/>
              </a:solidFill>
              <a:latin typeface="+mj-lt"/>
            </a:endParaRPr>
          </a:p>
        </p:txBody>
      </p:sp>
      <p:grpSp>
        <p:nvGrpSpPr>
          <p:cNvPr id="21" name="Group 72"/>
          <p:cNvGrpSpPr/>
          <p:nvPr/>
        </p:nvGrpSpPr>
        <p:grpSpPr>
          <a:xfrm>
            <a:off x="1259197" y="3071115"/>
            <a:ext cx="1478372" cy="276999"/>
            <a:chOff x="763623" y="2662134"/>
            <a:chExt cx="1368356" cy="276999"/>
          </a:xfrm>
          <a:solidFill>
            <a:srgbClr val="FFFF00"/>
          </a:solidFill>
        </p:grpSpPr>
        <p:sp>
          <p:nvSpPr>
            <p:cNvPr id="22" name="TextBox 21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3705 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65 </a:t>
              </a:r>
            </a:p>
          </p:txBody>
        </p:sp>
      </p:grpSp>
      <p:grpSp>
        <p:nvGrpSpPr>
          <p:cNvPr id="24" name="Group 86"/>
          <p:cNvGrpSpPr/>
          <p:nvPr/>
        </p:nvGrpSpPr>
        <p:grpSpPr>
          <a:xfrm>
            <a:off x="1259197" y="1260017"/>
            <a:ext cx="1478372" cy="276999"/>
            <a:chOff x="763623" y="2662134"/>
            <a:chExt cx="1368356" cy="276999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25" name="TextBox 24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4235 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75 </a:t>
              </a:r>
            </a:p>
          </p:txBody>
        </p:sp>
      </p:grpSp>
      <p:grpSp>
        <p:nvGrpSpPr>
          <p:cNvPr id="27" name="Group 87"/>
          <p:cNvGrpSpPr/>
          <p:nvPr/>
        </p:nvGrpSpPr>
        <p:grpSpPr>
          <a:xfrm>
            <a:off x="1259197" y="1569625"/>
            <a:ext cx="1478372" cy="276999"/>
            <a:chOff x="763623" y="2662134"/>
            <a:chExt cx="1368356" cy="276999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28" name="TextBox 27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4235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22 </a:t>
              </a:r>
            </a:p>
          </p:txBody>
        </p:sp>
      </p:grpSp>
      <p:grpSp>
        <p:nvGrpSpPr>
          <p:cNvPr id="30" name="Group 68"/>
          <p:cNvGrpSpPr/>
          <p:nvPr/>
        </p:nvGrpSpPr>
        <p:grpSpPr>
          <a:xfrm>
            <a:off x="1259197" y="2011794"/>
            <a:ext cx="1478372" cy="882577"/>
            <a:chOff x="985017" y="2011792"/>
            <a:chExt cx="1109068" cy="882577"/>
          </a:xfrm>
        </p:grpSpPr>
        <p:grpSp>
          <p:nvGrpSpPr>
            <p:cNvPr id="31" name="Group 103"/>
            <p:cNvGrpSpPr/>
            <p:nvPr/>
          </p:nvGrpSpPr>
          <p:grpSpPr>
            <a:xfrm>
              <a:off x="985017" y="2315443"/>
              <a:ext cx="1109068" cy="276999"/>
              <a:chOff x="763623" y="2662134"/>
              <a:chExt cx="1368356" cy="276999"/>
            </a:xfrm>
            <a:solidFill>
              <a:schemeClr val="accent6"/>
            </a:solidFill>
          </p:grpSpPr>
          <p:sp>
            <p:nvSpPr>
              <p:cNvPr id="38" name="TextBox 37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10025 </a:t>
                </a: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95 </a:t>
                </a:r>
              </a:p>
            </p:txBody>
          </p:sp>
        </p:grpSp>
        <p:grpSp>
          <p:nvGrpSpPr>
            <p:cNvPr id="32" name="Group 120"/>
            <p:cNvGrpSpPr/>
            <p:nvPr/>
          </p:nvGrpSpPr>
          <p:grpSpPr>
            <a:xfrm>
              <a:off x="985017" y="2617370"/>
              <a:ext cx="1109068" cy="276999"/>
              <a:chOff x="763623" y="2662134"/>
              <a:chExt cx="1368356" cy="276999"/>
            </a:xfrm>
            <a:solidFill>
              <a:srgbClr val="B6FF23"/>
            </a:solidFill>
          </p:grpSpPr>
          <p:sp>
            <p:nvSpPr>
              <p:cNvPr id="36" name="TextBox 35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44313 </a:t>
                </a: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55 </a:t>
                </a:r>
              </a:p>
            </p:txBody>
          </p:sp>
        </p:grpSp>
        <p:grpSp>
          <p:nvGrpSpPr>
            <p:cNvPr id="33" name="Group 107"/>
            <p:cNvGrpSpPr/>
            <p:nvPr/>
          </p:nvGrpSpPr>
          <p:grpSpPr>
            <a:xfrm>
              <a:off x="985017" y="2011792"/>
              <a:ext cx="1109068" cy="276999"/>
              <a:chOff x="763623" y="2662134"/>
              <a:chExt cx="1368356" cy="276999"/>
            </a:xfrm>
            <a:solidFill>
              <a:schemeClr val="accent6"/>
            </a:solidFill>
          </p:grpSpPr>
          <p:sp>
            <p:nvSpPr>
              <p:cNvPr id="34" name="TextBox 33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10025 </a:t>
                </a: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60 </a:t>
                </a:r>
              </a:p>
            </p:txBody>
          </p:sp>
        </p:grpSp>
      </p:grpSp>
      <p:sp>
        <p:nvSpPr>
          <p:cNvPr id="40" name="Rounded Rectangle 234"/>
          <p:cNvSpPr/>
          <p:nvPr/>
        </p:nvSpPr>
        <p:spPr bwMode="auto">
          <a:xfrm rot="16200000">
            <a:off x="-155239" y="5040523"/>
            <a:ext cx="1060315" cy="57054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pper</a:t>
            </a:r>
          </a:p>
        </p:txBody>
      </p:sp>
      <p:grpSp>
        <p:nvGrpSpPr>
          <p:cNvPr id="41" name="Group 77"/>
          <p:cNvGrpSpPr/>
          <p:nvPr/>
        </p:nvGrpSpPr>
        <p:grpSpPr>
          <a:xfrm>
            <a:off x="1259197" y="4301890"/>
            <a:ext cx="1478372" cy="276999"/>
            <a:chOff x="763623" y="2662134"/>
            <a:chExt cx="1368356" cy="276999"/>
          </a:xfrm>
          <a:solidFill>
            <a:srgbClr val="FFFF00"/>
          </a:solidFill>
        </p:grpSpPr>
        <p:sp>
          <p:nvSpPr>
            <p:cNvPr id="42" name="TextBox 41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3705 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30 </a:t>
              </a:r>
            </a:p>
          </p:txBody>
        </p:sp>
      </p:grpSp>
      <p:grpSp>
        <p:nvGrpSpPr>
          <p:cNvPr id="44" name="Group 78"/>
          <p:cNvGrpSpPr/>
          <p:nvPr/>
        </p:nvGrpSpPr>
        <p:grpSpPr>
          <a:xfrm>
            <a:off x="1259197" y="4617486"/>
            <a:ext cx="1478372" cy="276999"/>
            <a:chOff x="763623" y="2662134"/>
            <a:chExt cx="1368356" cy="276999"/>
          </a:xfrm>
          <a:solidFill>
            <a:srgbClr val="FFFF00"/>
          </a:solidFill>
        </p:grpSpPr>
        <p:sp>
          <p:nvSpPr>
            <p:cNvPr id="45" name="TextBox 44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3705 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15 </a:t>
              </a:r>
            </a:p>
          </p:txBody>
        </p:sp>
      </p:grpSp>
      <p:grpSp>
        <p:nvGrpSpPr>
          <p:cNvPr id="47" name="Group 95"/>
          <p:cNvGrpSpPr/>
          <p:nvPr/>
        </p:nvGrpSpPr>
        <p:grpSpPr>
          <a:xfrm>
            <a:off x="1259197" y="5083429"/>
            <a:ext cx="1478372" cy="276999"/>
            <a:chOff x="763623" y="2662134"/>
            <a:chExt cx="1368356" cy="276999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48" name="TextBox 47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02115 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15 </a:t>
              </a:r>
            </a:p>
          </p:txBody>
        </p:sp>
      </p:grpSp>
      <p:grpSp>
        <p:nvGrpSpPr>
          <p:cNvPr id="50" name="Group 96"/>
          <p:cNvGrpSpPr/>
          <p:nvPr/>
        </p:nvGrpSpPr>
        <p:grpSpPr>
          <a:xfrm>
            <a:off x="1259197" y="5398044"/>
            <a:ext cx="1478372" cy="276999"/>
            <a:chOff x="763623" y="2662134"/>
            <a:chExt cx="1368356" cy="276999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51" name="TextBox 50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02115 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15 </a:t>
              </a:r>
            </a:p>
          </p:txBody>
        </p:sp>
      </p:grpSp>
      <p:grpSp>
        <p:nvGrpSpPr>
          <p:cNvPr id="53" name="Group 112"/>
          <p:cNvGrpSpPr/>
          <p:nvPr/>
        </p:nvGrpSpPr>
        <p:grpSpPr>
          <a:xfrm>
            <a:off x="1259197" y="5823009"/>
            <a:ext cx="1478372" cy="276999"/>
            <a:chOff x="763623" y="2662134"/>
            <a:chExt cx="1368356" cy="276999"/>
          </a:xfrm>
          <a:solidFill>
            <a:srgbClr val="B6FF23"/>
          </a:solidFill>
        </p:grpSpPr>
        <p:sp>
          <p:nvSpPr>
            <p:cNvPr id="54" name="TextBox 53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44313 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10 </a:t>
              </a:r>
            </a:p>
          </p:txBody>
        </p:sp>
      </p:grpSp>
      <p:grpSp>
        <p:nvGrpSpPr>
          <p:cNvPr id="56" name="Group 113"/>
          <p:cNvGrpSpPr/>
          <p:nvPr/>
        </p:nvGrpSpPr>
        <p:grpSpPr>
          <a:xfrm>
            <a:off x="1259197" y="6135518"/>
            <a:ext cx="1478372" cy="276999"/>
            <a:chOff x="763623" y="2662134"/>
            <a:chExt cx="1368356" cy="276999"/>
          </a:xfrm>
          <a:solidFill>
            <a:srgbClr val="B6FF23"/>
          </a:solidFill>
        </p:grpSpPr>
        <p:sp>
          <p:nvSpPr>
            <p:cNvPr id="57" name="TextBox 56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44313 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25 </a:t>
              </a:r>
            </a:p>
          </p:txBody>
        </p:sp>
      </p:grpSp>
      <p:sp>
        <p:nvSpPr>
          <p:cNvPr id="59" name="Rounded Rectangle 235"/>
          <p:cNvSpPr/>
          <p:nvPr/>
        </p:nvSpPr>
        <p:spPr bwMode="auto">
          <a:xfrm rot="16200000">
            <a:off x="-127415" y="1913932"/>
            <a:ext cx="1060315" cy="570541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pper</a:t>
            </a:r>
          </a:p>
        </p:txBody>
      </p:sp>
      <p:grpSp>
        <p:nvGrpSpPr>
          <p:cNvPr id="60" name="Group 302"/>
          <p:cNvGrpSpPr/>
          <p:nvPr/>
        </p:nvGrpSpPr>
        <p:grpSpPr>
          <a:xfrm>
            <a:off x="4241740" y="951864"/>
            <a:ext cx="1478372" cy="276999"/>
            <a:chOff x="763623" y="2662134"/>
            <a:chExt cx="1368356" cy="276999"/>
          </a:xfrm>
          <a:solidFill>
            <a:srgbClr val="FFFF00"/>
          </a:solidFill>
        </p:grpSpPr>
        <p:sp>
          <p:nvSpPr>
            <p:cNvPr id="61" name="TextBox 60"/>
            <p:cNvSpPr txBox="1"/>
            <p:nvPr/>
          </p:nvSpPr>
          <p:spPr>
            <a:xfrm>
              <a:off x="763623" y="2662134"/>
              <a:ext cx="752269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53705 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515892" y="2662134"/>
              <a:ext cx="616087" cy="276999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1020B"/>
                  </a:solidFill>
                  <a:latin typeface="+mj-lt"/>
                </a:rPr>
                <a:t>$65 </a:t>
              </a:r>
            </a:p>
          </p:txBody>
        </p:sp>
      </p:grpSp>
      <p:grpSp>
        <p:nvGrpSpPr>
          <p:cNvPr id="63" name="Group 70"/>
          <p:cNvGrpSpPr/>
          <p:nvPr/>
        </p:nvGrpSpPr>
        <p:grpSpPr>
          <a:xfrm>
            <a:off x="4241740" y="1276109"/>
            <a:ext cx="1478372" cy="606425"/>
            <a:chOff x="5166492" y="1276107"/>
            <a:chExt cx="1109068" cy="606425"/>
          </a:xfrm>
        </p:grpSpPr>
        <p:grpSp>
          <p:nvGrpSpPr>
            <p:cNvPr id="64" name="Group 305"/>
            <p:cNvGrpSpPr/>
            <p:nvPr/>
          </p:nvGrpSpPr>
          <p:grpSpPr>
            <a:xfrm>
              <a:off x="5166492" y="1276107"/>
              <a:ext cx="1109068" cy="276999"/>
              <a:chOff x="763623" y="2662134"/>
              <a:chExt cx="1368356" cy="276999"/>
            </a:xfrm>
            <a:solidFill>
              <a:srgbClr val="FFFF00"/>
            </a:solidFill>
          </p:grpSpPr>
          <p:sp>
            <p:nvSpPr>
              <p:cNvPr id="68" name="TextBox 67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53705 </a:t>
                </a: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30 </a:t>
                </a:r>
              </a:p>
            </p:txBody>
          </p:sp>
        </p:grpSp>
        <p:grpSp>
          <p:nvGrpSpPr>
            <p:cNvPr id="65" name="Group 308"/>
            <p:cNvGrpSpPr/>
            <p:nvPr/>
          </p:nvGrpSpPr>
          <p:grpSpPr>
            <a:xfrm>
              <a:off x="5166492" y="1605533"/>
              <a:ext cx="1109068" cy="276999"/>
              <a:chOff x="763623" y="2662134"/>
              <a:chExt cx="1368356" cy="276999"/>
            </a:xfrm>
            <a:solidFill>
              <a:srgbClr val="FFFF00"/>
            </a:solidFill>
          </p:grpSpPr>
          <p:sp>
            <p:nvSpPr>
              <p:cNvPr id="66" name="TextBox 65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53705 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15 </a:t>
                </a:r>
              </a:p>
            </p:txBody>
          </p:sp>
        </p:grpSp>
      </p:grpSp>
      <p:grpSp>
        <p:nvGrpSpPr>
          <p:cNvPr id="70" name="Group 76"/>
          <p:cNvGrpSpPr/>
          <p:nvPr/>
        </p:nvGrpSpPr>
        <p:grpSpPr>
          <a:xfrm>
            <a:off x="4241740" y="2909187"/>
            <a:ext cx="1478372" cy="589508"/>
            <a:chOff x="5166492" y="2909187"/>
            <a:chExt cx="1109068" cy="589508"/>
          </a:xfrm>
        </p:grpSpPr>
        <p:grpSp>
          <p:nvGrpSpPr>
            <p:cNvPr id="71" name="Group 311"/>
            <p:cNvGrpSpPr/>
            <p:nvPr/>
          </p:nvGrpSpPr>
          <p:grpSpPr>
            <a:xfrm>
              <a:off x="5166492" y="2909187"/>
              <a:ext cx="1109068" cy="276999"/>
              <a:chOff x="763623" y="2662134"/>
              <a:chExt cx="1368356" cy="276999"/>
            </a:xfrm>
            <a:solidFill>
              <a:srgbClr val="B6FF23"/>
            </a:solidFill>
          </p:grpSpPr>
          <p:sp>
            <p:nvSpPr>
              <p:cNvPr id="75" name="TextBox 74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44313 </a:t>
                </a: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10 </a:t>
                </a:r>
              </a:p>
            </p:txBody>
          </p:sp>
        </p:grpSp>
        <p:grpSp>
          <p:nvGrpSpPr>
            <p:cNvPr id="72" name="Group 314"/>
            <p:cNvGrpSpPr/>
            <p:nvPr/>
          </p:nvGrpSpPr>
          <p:grpSpPr>
            <a:xfrm>
              <a:off x="5166492" y="3221696"/>
              <a:ext cx="1109068" cy="276999"/>
              <a:chOff x="763623" y="2662134"/>
              <a:chExt cx="1368356" cy="276999"/>
            </a:xfrm>
            <a:solidFill>
              <a:srgbClr val="B6FF23"/>
            </a:solidFill>
          </p:grpSpPr>
          <p:sp>
            <p:nvSpPr>
              <p:cNvPr id="73" name="TextBox 72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44313 </a:t>
                </a: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25 </a:t>
                </a:r>
              </a:p>
            </p:txBody>
          </p:sp>
        </p:grpSp>
      </p:grpSp>
      <p:grpSp>
        <p:nvGrpSpPr>
          <p:cNvPr id="77" name="Group 69"/>
          <p:cNvGrpSpPr/>
          <p:nvPr/>
        </p:nvGrpSpPr>
        <p:grpSpPr>
          <a:xfrm>
            <a:off x="4241740" y="3530446"/>
            <a:ext cx="1478372" cy="882577"/>
            <a:chOff x="5166492" y="3530444"/>
            <a:chExt cx="1109068" cy="882577"/>
          </a:xfrm>
        </p:grpSpPr>
        <p:grpSp>
          <p:nvGrpSpPr>
            <p:cNvPr id="78" name="Group 317"/>
            <p:cNvGrpSpPr/>
            <p:nvPr/>
          </p:nvGrpSpPr>
          <p:grpSpPr>
            <a:xfrm>
              <a:off x="5166492" y="3834095"/>
              <a:ext cx="1109068" cy="276999"/>
              <a:chOff x="763623" y="2662134"/>
              <a:chExt cx="1368356" cy="276999"/>
            </a:xfrm>
            <a:solidFill>
              <a:schemeClr val="accent6"/>
            </a:solidFill>
          </p:grpSpPr>
          <p:sp>
            <p:nvSpPr>
              <p:cNvPr id="85" name="TextBox 84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10025 </a:t>
                </a: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95 </a:t>
                </a:r>
              </a:p>
            </p:txBody>
          </p:sp>
        </p:grpSp>
        <p:grpSp>
          <p:nvGrpSpPr>
            <p:cNvPr id="79" name="Group 320"/>
            <p:cNvGrpSpPr/>
            <p:nvPr/>
          </p:nvGrpSpPr>
          <p:grpSpPr>
            <a:xfrm>
              <a:off x="5166492" y="4136022"/>
              <a:ext cx="1109068" cy="276999"/>
              <a:chOff x="763623" y="2662134"/>
              <a:chExt cx="1368356" cy="276999"/>
            </a:xfrm>
            <a:solidFill>
              <a:srgbClr val="B6FF23"/>
            </a:solidFill>
          </p:grpSpPr>
          <p:sp>
            <p:nvSpPr>
              <p:cNvPr id="83" name="TextBox 82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44313 </a:t>
                </a: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55 </a:t>
                </a:r>
              </a:p>
            </p:txBody>
          </p:sp>
        </p:grpSp>
        <p:grpSp>
          <p:nvGrpSpPr>
            <p:cNvPr id="80" name="Group 323"/>
            <p:cNvGrpSpPr/>
            <p:nvPr/>
          </p:nvGrpSpPr>
          <p:grpSpPr>
            <a:xfrm>
              <a:off x="5166492" y="3530444"/>
              <a:ext cx="1109068" cy="276999"/>
              <a:chOff x="763623" y="2662134"/>
              <a:chExt cx="1368356" cy="276999"/>
            </a:xfrm>
            <a:solidFill>
              <a:schemeClr val="accent6"/>
            </a:solidFill>
          </p:grpSpPr>
          <p:sp>
            <p:nvSpPr>
              <p:cNvPr id="81" name="TextBox 80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10025 </a:t>
                </a: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60 </a:t>
                </a:r>
              </a:p>
            </p:txBody>
          </p:sp>
        </p:grpSp>
      </p:grpSp>
      <p:grpSp>
        <p:nvGrpSpPr>
          <p:cNvPr id="87" name="Group 85"/>
          <p:cNvGrpSpPr/>
          <p:nvPr/>
        </p:nvGrpSpPr>
        <p:grpSpPr>
          <a:xfrm>
            <a:off x="4241740" y="5236031"/>
            <a:ext cx="1478372" cy="586607"/>
            <a:chOff x="5166492" y="5236029"/>
            <a:chExt cx="1109068" cy="586607"/>
          </a:xfrm>
        </p:grpSpPr>
        <p:grpSp>
          <p:nvGrpSpPr>
            <p:cNvPr id="88" name="Group 326"/>
            <p:cNvGrpSpPr/>
            <p:nvPr/>
          </p:nvGrpSpPr>
          <p:grpSpPr>
            <a:xfrm>
              <a:off x="5166492" y="5236029"/>
              <a:ext cx="1109068" cy="276999"/>
              <a:chOff x="763623" y="2662134"/>
              <a:chExt cx="1368356" cy="276999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92" name="TextBox 91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54235 </a:t>
                </a: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75 </a:t>
                </a:r>
              </a:p>
            </p:txBody>
          </p:sp>
        </p:grpSp>
        <p:grpSp>
          <p:nvGrpSpPr>
            <p:cNvPr id="89" name="Group 329"/>
            <p:cNvGrpSpPr/>
            <p:nvPr/>
          </p:nvGrpSpPr>
          <p:grpSpPr>
            <a:xfrm>
              <a:off x="5166492" y="5545637"/>
              <a:ext cx="1109068" cy="276999"/>
              <a:chOff x="763623" y="2662134"/>
              <a:chExt cx="1368356" cy="276999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90" name="TextBox 89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54235</a:t>
                </a: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22 </a:t>
                </a:r>
              </a:p>
            </p:txBody>
          </p:sp>
        </p:grpSp>
      </p:grpSp>
      <p:grpSp>
        <p:nvGrpSpPr>
          <p:cNvPr id="94" name="Group 94"/>
          <p:cNvGrpSpPr/>
          <p:nvPr/>
        </p:nvGrpSpPr>
        <p:grpSpPr>
          <a:xfrm>
            <a:off x="4241740" y="5918232"/>
            <a:ext cx="1478372" cy="591614"/>
            <a:chOff x="5166492" y="5918232"/>
            <a:chExt cx="1109068" cy="591614"/>
          </a:xfrm>
        </p:grpSpPr>
        <p:grpSp>
          <p:nvGrpSpPr>
            <p:cNvPr id="95" name="Group 332"/>
            <p:cNvGrpSpPr/>
            <p:nvPr/>
          </p:nvGrpSpPr>
          <p:grpSpPr>
            <a:xfrm>
              <a:off x="5166492" y="5918232"/>
              <a:ext cx="1109068" cy="276999"/>
              <a:chOff x="763623" y="2662134"/>
              <a:chExt cx="1368356" cy="276999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99" name="TextBox 98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02115 </a:t>
                </a:r>
              </a:p>
            </p:txBody>
          </p:sp>
          <p:sp>
            <p:nvSpPr>
              <p:cNvPr id="100" name="TextBox 99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15 </a:t>
                </a:r>
              </a:p>
            </p:txBody>
          </p:sp>
        </p:grpSp>
        <p:grpSp>
          <p:nvGrpSpPr>
            <p:cNvPr id="96" name="Group 335"/>
            <p:cNvGrpSpPr/>
            <p:nvPr/>
          </p:nvGrpSpPr>
          <p:grpSpPr>
            <a:xfrm>
              <a:off x="5166492" y="6232847"/>
              <a:ext cx="1109068" cy="276999"/>
              <a:chOff x="763623" y="2662134"/>
              <a:chExt cx="1368356" cy="276999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97" name="TextBox 96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02115 </a:t>
                </a: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15 </a:t>
                </a:r>
              </a:p>
            </p:txBody>
          </p:sp>
        </p:grpSp>
      </p:grpSp>
      <p:cxnSp>
        <p:nvCxnSpPr>
          <p:cNvPr id="101" name="Straight Arrow Connector 10"/>
          <p:cNvCxnSpPr>
            <a:stCxn id="23" idx="3"/>
            <a:endCxn id="61" idx="1"/>
          </p:cNvCxnSpPr>
          <p:nvPr/>
        </p:nvCxnSpPr>
        <p:spPr bwMode="auto">
          <a:xfrm flipV="1">
            <a:off x="2737570" y="1090364"/>
            <a:ext cx="1504171" cy="211925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2" name="Straight Arrow Connector 12"/>
          <p:cNvCxnSpPr/>
          <p:nvPr/>
        </p:nvCxnSpPr>
        <p:spPr bwMode="auto">
          <a:xfrm flipV="1">
            <a:off x="2737569" y="1581681"/>
            <a:ext cx="1965884" cy="303580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3" name="Straight Arrow Connector 15"/>
          <p:cNvCxnSpPr/>
          <p:nvPr/>
        </p:nvCxnSpPr>
        <p:spPr bwMode="auto">
          <a:xfrm flipV="1">
            <a:off x="2737569" y="3209613"/>
            <a:ext cx="1965884" cy="284711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4" name="Straight Arrow Connector 29"/>
          <p:cNvCxnSpPr>
            <a:endCxn id="85" idx="1"/>
          </p:cNvCxnSpPr>
          <p:nvPr/>
        </p:nvCxnSpPr>
        <p:spPr bwMode="auto">
          <a:xfrm>
            <a:off x="2275856" y="2453944"/>
            <a:ext cx="1965884" cy="151865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5" name="Straight Arrow Connector 124"/>
          <p:cNvCxnSpPr/>
          <p:nvPr/>
        </p:nvCxnSpPr>
        <p:spPr bwMode="auto">
          <a:xfrm>
            <a:off x="2737569" y="1569625"/>
            <a:ext cx="1965884" cy="368020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6" name="Straight Arrow Connector 338"/>
          <p:cNvCxnSpPr/>
          <p:nvPr/>
        </p:nvCxnSpPr>
        <p:spPr bwMode="auto">
          <a:xfrm>
            <a:off x="2737569" y="5398044"/>
            <a:ext cx="1965884" cy="79718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07" name="Group 129"/>
          <p:cNvGrpSpPr/>
          <p:nvPr/>
        </p:nvGrpSpPr>
        <p:grpSpPr>
          <a:xfrm>
            <a:off x="5829417" y="1194416"/>
            <a:ext cx="1140030" cy="4905590"/>
            <a:chOff x="6340590" y="1194416"/>
            <a:chExt cx="976554" cy="4905590"/>
          </a:xfrm>
        </p:grpSpPr>
        <p:grpSp>
          <p:nvGrpSpPr>
            <p:cNvPr id="108" name="Group 347"/>
            <p:cNvGrpSpPr/>
            <p:nvPr/>
          </p:nvGrpSpPr>
          <p:grpSpPr>
            <a:xfrm>
              <a:off x="6373155" y="1194416"/>
              <a:ext cx="943989" cy="479261"/>
              <a:chOff x="6373155" y="1194416"/>
              <a:chExt cx="943989" cy="479261"/>
            </a:xfrm>
          </p:grpSpPr>
          <p:sp>
            <p:nvSpPr>
              <p:cNvPr id="115" name="Oval 339"/>
              <p:cNvSpPr/>
              <p:nvPr/>
            </p:nvSpPr>
            <p:spPr bwMode="auto">
              <a:xfrm>
                <a:off x="6593246" y="1194416"/>
                <a:ext cx="723898" cy="479261"/>
              </a:xfrm>
              <a:prstGeom prst="ellips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14300">
                  <a:prstClr val="black"/>
                </a:inn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Sort</a:t>
                </a:r>
              </a:p>
            </p:txBody>
          </p:sp>
          <p:cxnSp>
            <p:nvCxnSpPr>
              <p:cNvPr id="116" name="Straight Arrow Connector 346"/>
              <p:cNvCxnSpPr>
                <a:stCxn id="20" idx="3"/>
                <a:endCxn id="115" idx="2"/>
              </p:cNvCxnSpPr>
              <p:nvPr/>
            </p:nvCxnSpPr>
            <p:spPr bwMode="auto">
              <a:xfrm>
                <a:off x="6373155" y="1434047"/>
                <a:ext cx="220091" cy="0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  <p:grpSp>
          <p:nvGrpSpPr>
            <p:cNvPr id="109" name="Group 348"/>
            <p:cNvGrpSpPr/>
            <p:nvPr/>
          </p:nvGrpSpPr>
          <p:grpSpPr>
            <a:xfrm>
              <a:off x="6351712" y="3421167"/>
              <a:ext cx="952913" cy="479261"/>
              <a:chOff x="6351712" y="1194416"/>
              <a:chExt cx="952913" cy="479261"/>
            </a:xfrm>
          </p:grpSpPr>
          <p:sp>
            <p:nvSpPr>
              <p:cNvPr id="113" name="Oval 349"/>
              <p:cNvSpPr/>
              <p:nvPr/>
            </p:nvSpPr>
            <p:spPr bwMode="auto">
              <a:xfrm>
                <a:off x="6580725" y="1194416"/>
                <a:ext cx="723900" cy="479261"/>
              </a:xfrm>
              <a:prstGeom prst="ellips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14300">
                  <a:prstClr val="black"/>
                </a:inn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Sort</a:t>
                </a:r>
              </a:p>
            </p:txBody>
          </p:sp>
          <p:cxnSp>
            <p:nvCxnSpPr>
              <p:cNvPr id="114" name="Straight Arrow Connector 350"/>
              <p:cNvCxnSpPr/>
              <p:nvPr/>
            </p:nvCxnSpPr>
            <p:spPr bwMode="auto">
              <a:xfrm flipV="1">
                <a:off x="6351712" y="1434047"/>
                <a:ext cx="240143" cy="8145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  <p:grpSp>
          <p:nvGrpSpPr>
            <p:cNvPr id="110" name="Group 351"/>
            <p:cNvGrpSpPr/>
            <p:nvPr/>
          </p:nvGrpSpPr>
          <p:grpSpPr>
            <a:xfrm>
              <a:off x="6340590" y="5620745"/>
              <a:ext cx="948782" cy="479261"/>
              <a:chOff x="6340590" y="1194416"/>
              <a:chExt cx="948782" cy="479261"/>
            </a:xfrm>
          </p:grpSpPr>
          <p:sp>
            <p:nvSpPr>
              <p:cNvPr id="111" name="Oval 352"/>
              <p:cNvSpPr/>
              <p:nvPr/>
            </p:nvSpPr>
            <p:spPr bwMode="auto">
              <a:xfrm>
                <a:off x="6565472" y="1194416"/>
                <a:ext cx="723900" cy="479261"/>
              </a:xfrm>
              <a:prstGeom prst="ellips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14300">
                  <a:prstClr val="black"/>
                </a:inn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Sort</a:t>
                </a:r>
              </a:p>
            </p:txBody>
          </p:sp>
          <p:cxnSp>
            <p:nvCxnSpPr>
              <p:cNvPr id="112" name="Straight Arrow Connector 353"/>
              <p:cNvCxnSpPr/>
              <p:nvPr/>
            </p:nvCxnSpPr>
            <p:spPr bwMode="auto">
              <a:xfrm flipV="1">
                <a:off x="6340590" y="1434047"/>
                <a:ext cx="240143" cy="15039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</p:grpSp>
      <p:cxnSp>
        <p:nvCxnSpPr>
          <p:cNvPr id="117" name="Straight Arrow Connector 363"/>
          <p:cNvCxnSpPr/>
          <p:nvPr/>
        </p:nvCxnSpPr>
        <p:spPr bwMode="auto">
          <a:xfrm>
            <a:off x="6987930" y="1428872"/>
            <a:ext cx="280343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8" name="Straight Arrow Connector 361"/>
          <p:cNvCxnSpPr/>
          <p:nvPr/>
        </p:nvCxnSpPr>
        <p:spPr bwMode="auto">
          <a:xfrm>
            <a:off x="6987930" y="3655623"/>
            <a:ext cx="280343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9" name="Straight Arrow Connector 359"/>
          <p:cNvCxnSpPr/>
          <p:nvPr/>
        </p:nvCxnSpPr>
        <p:spPr bwMode="auto">
          <a:xfrm>
            <a:off x="6963690" y="5845676"/>
            <a:ext cx="280343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1020B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20" name="Group 147"/>
          <p:cNvGrpSpPr/>
          <p:nvPr/>
        </p:nvGrpSpPr>
        <p:grpSpPr>
          <a:xfrm>
            <a:off x="7250317" y="913453"/>
            <a:ext cx="1701357" cy="1098341"/>
            <a:chOff x="7659047" y="913451"/>
            <a:chExt cx="1276350" cy="1098341"/>
          </a:xfrm>
        </p:grpSpPr>
        <p:sp>
          <p:nvSpPr>
            <p:cNvPr id="121" name="Rounded Rectangle 364"/>
            <p:cNvSpPr/>
            <p:nvPr/>
          </p:nvSpPr>
          <p:spPr bwMode="auto">
            <a:xfrm>
              <a:off x="7659047" y="913451"/>
              <a:ext cx="1276350" cy="1098341"/>
            </a:xfrm>
            <a:prstGeom prst="roundRect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grpSp>
          <p:nvGrpSpPr>
            <p:cNvPr id="122" name="Group 365"/>
            <p:cNvGrpSpPr/>
            <p:nvPr/>
          </p:nvGrpSpPr>
          <p:grpSpPr>
            <a:xfrm>
              <a:off x="7729664" y="980437"/>
              <a:ext cx="1109068" cy="276999"/>
              <a:chOff x="763623" y="2662134"/>
              <a:chExt cx="1368356" cy="276999"/>
            </a:xfrm>
            <a:solidFill>
              <a:srgbClr val="FFFF00"/>
            </a:solidFill>
          </p:grpSpPr>
          <p:sp>
            <p:nvSpPr>
              <p:cNvPr id="130" name="TextBox 129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53705 </a:t>
                </a: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65 </a:t>
                </a:r>
              </a:p>
            </p:txBody>
          </p:sp>
        </p:grpSp>
        <p:grpSp>
          <p:nvGrpSpPr>
            <p:cNvPr id="123" name="Group 368"/>
            <p:cNvGrpSpPr/>
            <p:nvPr/>
          </p:nvGrpSpPr>
          <p:grpSpPr>
            <a:xfrm>
              <a:off x="7729664" y="1304682"/>
              <a:ext cx="1109068" cy="606425"/>
              <a:chOff x="5166492" y="1276107"/>
              <a:chExt cx="1109068" cy="606425"/>
            </a:xfrm>
          </p:grpSpPr>
          <p:grpSp>
            <p:nvGrpSpPr>
              <p:cNvPr id="124" name="Group 369"/>
              <p:cNvGrpSpPr/>
              <p:nvPr/>
            </p:nvGrpSpPr>
            <p:grpSpPr>
              <a:xfrm>
                <a:off x="5166492" y="1276107"/>
                <a:ext cx="1109068" cy="276999"/>
                <a:chOff x="763623" y="2662134"/>
                <a:chExt cx="1368356" cy="276999"/>
              </a:xfrm>
              <a:solidFill>
                <a:srgbClr val="FFFF00"/>
              </a:solidFill>
            </p:grpSpPr>
            <p:sp>
              <p:nvSpPr>
                <p:cNvPr id="128" name="TextBox 127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53705 </a:t>
                  </a:r>
                </a:p>
              </p:txBody>
            </p:sp>
            <p:sp>
              <p:nvSpPr>
                <p:cNvPr id="129" name="TextBox 128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30 </a:t>
                  </a:r>
                </a:p>
              </p:txBody>
            </p:sp>
          </p:grpSp>
          <p:grpSp>
            <p:nvGrpSpPr>
              <p:cNvPr id="125" name="Group 370"/>
              <p:cNvGrpSpPr/>
              <p:nvPr/>
            </p:nvGrpSpPr>
            <p:grpSpPr>
              <a:xfrm>
                <a:off x="5166492" y="1605533"/>
                <a:ext cx="1109068" cy="276999"/>
                <a:chOff x="763623" y="2662134"/>
                <a:chExt cx="1368356" cy="276999"/>
              </a:xfrm>
              <a:solidFill>
                <a:srgbClr val="FFFF00"/>
              </a:solidFill>
            </p:grpSpPr>
            <p:sp>
              <p:nvSpPr>
                <p:cNvPr id="126" name="TextBox 125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53705 </a:t>
                  </a:r>
                </a:p>
              </p:txBody>
            </p:sp>
            <p:sp>
              <p:nvSpPr>
                <p:cNvPr id="127" name="TextBox 126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15 </a:t>
                  </a:r>
                </a:p>
              </p:txBody>
            </p:sp>
          </p:grpSp>
        </p:grpSp>
      </p:grpSp>
      <p:grpSp>
        <p:nvGrpSpPr>
          <p:cNvPr id="132" name="Group 151"/>
          <p:cNvGrpSpPr/>
          <p:nvPr/>
        </p:nvGrpSpPr>
        <p:grpSpPr>
          <a:xfrm>
            <a:off x="7268785" y="2823546"/>
            <a:ext cx="1701357" cy="1661449"/>
            <a:chOff x="7663112" y="2823544"/>
            <a:chExt cx="1276350" cy="1661449"/>
          </a:xfrm>
        </p:grpSpPr>
        <p:sp>
          <p:nvSpPr>
            <p:cNvPr id="133" name="Rounded Rectangle 375"/>
            <p:cNvSpPr/>
            <p:nvPr/>
          </p:nvSpPr>
          <p:spPr bwMode="auto">
            <a:xfrm>
              <a:off x="7663112" y="2823544"/>
              <a:ext cx="1276350" cy="1661449"/>
            </a:xfrm>
            <a:prstGeom prst="roundRect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grpSp>
          <p:nvGrpSpPr>
            <p:cNvPr id="134" name="Group 376"/>
            <p:cNvGrpSpPr/>
            <p:nvPr/>
          </p:nvGrpSpPr>
          <p:grpSpPr>
            <a:xfrm>
              <a:off x="7737227" y="3492220"/>
              <a:ext cx="1109068" cy="589508"/>
              <a:chOff x="5166492" y="2909187"/>
              <a:chExt cx="1109068" cy="589508"/>
            </a:xfrm>
          </p:grpSpPr>
          <p:grpSp>
            <p:nvGrpSpPr>
              <p:cNvPr id="145" name="Group 377"/>
              <p:cNvGrpSpPr/>
              <p:nvPr/>
            </p:nvGrpSpPr>
            <p:grpSpPr>
              <a:xfrm>
                <a:off x="5166492" y="2909187"/>
                <a:ext cx="1109068" cy="276999"/>
                <a:chOff x="763623" y="2662134"/>
                <a:chExt cx="1368356" cy="276999"/>
              </a:xfrm>
              <a:solidFill>
                <a:srgbClr val="B6FF23"/>
              </a:solidFill>
            </p:grpSpPr>
            <p:sp>
              <p:nvSpPr>
                <p:cNvPr id="149" name="TextBox 148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44313 </a:t>
                  </a:r>
                </a:p>
              </p:txBody>
            </p:sp>
            <p:sp>
              <p:nvSpPr>
                <p:cNvPr id="150" name="TextBox 149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10 </a:t>
                  </a:r>
                </a:p>
              </p:txBody>
            </p:sp>
          </p:grpSp>
          <p:grpSp>
            <p:nvGrpSpPr>
              <p:cNvPr id="146" name="Group 378"/>
              <p:cNvGrpSpPr/>
              <p:nvPr/>
            </p:nvGrpSpPr>
            <p:grpSpPr>
              <a:xfrm>
                <a:off x="5166492" y="3221696"/>
                <a:ext cx="1109068" cy="276999"/>
                <a:chOff x="763623" y="2662134"/>
                <a:chExt cx="1368356" cy="276999"/>
              </a:xfrm>
              <a:solidFill>
                <a:srgbClr val="B6FF23"/>
              </a:solidFill>
            </p:grpSpPr>
            <p:sp>
              <p:nvSpPr>
                <p:cNvPr id="147" name="TextBox 146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44313 </a:t>
                  </a:r>
                </a:p>
              </p:txBody>
            </p:sp>
            <p:sp>
              <p:nvSpPr>
                <p:cNvPr id="148" name="TextBox 147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25 </a:t>
                  </a:r>
                </a:p>
              </p:txBody>
            </p:sp>
          </p:grpSp>
        </p:grpSp>
        <p:grpSp>
          <p:nvGrpSpPr>
            <p:cNvPr id="135" name="Group 385"/>
            <p:cNvGrpSpPr/>
            <p:nvPr/>
          </p:nvGrpSpPr>
          <p:grpSpPr>
            <a:xfrm>
              <a:off x="7737227" y="4109843"/>
              <a:ext cx="1109068" cy="276999"/>
              <a:chOff x="763623" y="2662134"/>
              <a:chExt cx="1368356" cy="276999"/>
            </a:xfrm>
            <a:solidFill>
              <a:srgbClr val="B6FF23"/>
            </a:solidFill>
          </p:grpSpPr>
          <p:sp>
            <p:nvSpPr>
              <p:cNvPr id="143" name="TextBox 142"/>
              <p:cNvSpPr txBox="1"/>
              <p:nvPr/>
            </p:nvSpPr>
            <p:spPr>
              <a:xfrm>
                <a:off x="763623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44313 </a:t>
                </a:r>
              </a:p>
            </p:txBody>
          </p:sp>
          <p:sp>
            <p:nvSpPr>
              <p:cNvPr id="144" name="TextBox 143"/>
              <p:cNvSpPr txBox="1"/>
              <p:nvPr/>
            </p:nvSpPr>
            <p:spPr>
              <a:xfrm>
                <a:off x="1515892" y="2662134"/>
                <a:ext cx="616087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55 </a:t>
                </a:r>
              </a:p>
            </p:txBody>
          </p:sp>
        </p:grpSp>
        <p:grpSp>
          <p:nvGrpSpPr>
            <p:cNvPr id="136" name="Group 146"/>
            <p:cNvGrpSpPr/>
            <p:nvPr/>
          </p:nvGrpSpPr>
          <p:grpSpPr>
            <a:xfrm>
              <a:off x="7737227" y="2890137"/>
              <a:ext cx="1109068" cy="580651"/>
              <a:chOff x="7868493" y="2410829"/>
              <a:chExt cx="1109068" cy="580651"/>
            </a:xfrm>
          </p:grpSpPr>
          <p:grpSp>
            <p:nvGrpSpPr>
              <p:cNvPr id="137" name="Group 384"/>
              <p:cNvGrpSpPr/>
              <p:nvPr/>
            </p:nvGrpSpPr>
            <p:grpSpPr>
              <a:xfrm>
                <a:off x="7868493" y="2714481"/>
                <a:ext cx="1109068" cy="276999"/>
                <a:chOff x="763623" y="2662134"/>
                <a:chExt cx="1368356" cy="276999"/>
              </a:xfrm>
              <a:solidFill>
                <a:schemeClr val="accent6"/>
              </a:solidFill>
            </p:grpSpPr>
            <p:sp>
              <p:nvSpPr>
                <p:cNvPr id="141" name="TextBox 140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10025 </a:t>
                  </a:r>
                </a:p>
              </p:txBody>
            </p:sp>
            <p:sp>
              <p:nvSpPr>
                <p:cNvPr id="142" name="TextBox 141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95 </a:t>
                  </a:r>
                </a:p>
              </p:txBody>
            </p:sp>
          </p:grpSp>
          <p:grpSp>
            <p:nvGrpSpPr>
              <p:cNvPr id="138" name="Group 386"/>
              <p:cNvGrpSpPr/>
              <p:nvPr/>
            </p:nvGrpSpPr>
            <p:grpSpPr>
              <a:xfrm>
                <a:off x="7868493" y="2410829"/>
                <a:ext cx="1109068" cy="276999"/>
                <a:chOff x="763623" y="2662134"/>
                <a:chExt cx="1368356" cy="276999"/>
              </a:xfrm>
              <a:solidFill>
                <a:schemeClr val="accent6"/>
              </a:solidFill>
            </p:grpSpPr>
            <p:sp>
              <p:nvSpPr>
                <p:cNvPr id="139" name="TextBox 138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10025 </a:t>
                  </a:r>
                </a:p>
              </p:txBody>
            </p:sp>
            <p:sp>
              <p:nvSpPr>
                <p:cNvPr id="140" name="TextBox 139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60 </a:t>
                  </a:r>
                </a:p>
              </p:txBody>
            </p:sp>
          </p:grpSp>
        </p:grpSp>
      </p:grpSp>
      <p:grpSp>
        <p:nvGrpSpPr>
          <p:cNvPr id="151" name="Group 152"/>
          <p:cNvGrpSpPr/>
          <p:nvPr/>
        </p:nvGrpSpPr>
        <p:grpSpPr>
          <a:xfrm>
            <a:off x="7213380" y="5043985"/>
            <a:ext cx="1701357" cy="1661449"/>
            <a:chOff x="7701211" y="5043983"/>
            <a:chExt cx="1276350" cy="1661449"/>
          </a:xfrm>
        </p:grpSpPr>
        <p:sp>
          <p:nvSpPr>
            <p:cNvPr id="152" name="Rounded Rectangle 393"/>
            <p:cNvSpPr/>
            <p:nvPr/>
          </p:nvSpPr>
          <p:spPr bwMode="auto">
            <a:xfrm>
              <a:off x="7701211" y="5043983"/>
              <a:ext cx="1276350" cy="1661449"/>
            </a:xfrm>
            <a:prstGeom prst="roundRect">
              <a:avLst/>
            </a:prstGeom>
            <a:solidFill>
              <a:schemeClr val="accent1"/>
            </a:solidFill>
            <a:ln w="19050" cap="flat" cmpd="sng" algn="ctr">
              <a:solidFill>
                <a:srgbClr val="01020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grpSp>
          <p:nvGrpSpPr>
            <p:cNvPr id="153" name="Group 394"/>
            <p:cNvGrpSpPr/>
            <p:nvPr/>
          </p:nvGrpSpPr>
          <p:grpSpPr>
            <a:xfrm>
              <a:off x="7789724" y="5971822"/>
              <a:ext cx="1109068" cy="586607"/>
              <a:chOff x="5166492" y="5236029"/>
              <a:chExt cx="1109068" cy="586607"/>
            </a:xfrm>
          </p:grpSpPr>
          <p:grpSp>
            <p:nvGrpSpPr>
              <p:cNvPr id="161" name="Group 395"/>
              <p:cNvGrpSpPr/>
              <p:nvPr/>
            </p:nvGrpSpPr>
            <p:grpSpPr>
              <a:xfrm>
                <a:off x="5166492" y="5236029"/>
                <a:ext cx="1109068" cy="276999"/>
                <a:chOff x="763623" y="2662134"/>
                <a:chExt cx="1368356" cy="276999"/>
              </a:xfrm>
              <a:solidFill>
                <a:schemeClr val="tx2">
                  <a:lumMod val="40000"/>
                  <a:lumOff val="60000"/>
                </a:schemeClr>
              </a:solidFill>
            </p:grpSpPr>
            <p:sp>
              <p:nvSpPr>
                <p:cNvPr id="165" name="TextBox 164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54235 </a:t>
                  </a:r>
                </a:p>
              </p:txBody>
            </p:sp>
            <p:sp>
              <p:nvSpPr>
                <p:cNvPr id="166" name="TextBox 165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75 </a:t>
                  </a:r>
                </a:p>
              </p:txBody>
            </p:sp>
          </p:grpSp>
          <p:grpSp>
            <p:nvGrpSpPr>
              <p:cNvPr id="162" name="Group 396"/>
              <p:cNvGrpSpPr/>
              <p:nvPr/>
            </p:nvGrpSpPr>
            <p:grpSpPr>
              <a:xfrm>
                <a:off x="5166492" y="5545637"/>
                <a:ext cx="1109068" cy="276999"/>
                <a:chOff x="763623" y="2662134"/>
                <a:chExt cx="1368356" cy="276999"/>
              </a:xfrm>
              <a:solidFill>
                <a:schemeClr val="tx2">
                  <a:lumMod val="40000"/>
                  <a:lumOff val="60000"/>
                </a:schemeClr>
              </a:solidFill>
            </p:grpSpPr>
            <p:sp>
              <p:nvSpPr>
                <p:cNvPr id="163" name="TextBox 162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54235</a:t>
                  </a:r>
                </a:p>
              </p:txBody>
            </p:sp>
            <p:sp>
              <p:nvSpPr>
                <p:cNvPr id="164" name="TextBox 163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22 </a:t>
                  </a:r>
                </a:p>
              </p:txBody>
            </p:sp>
          </p:grpSp>
        </p:grpSp>
        <p:grpSp>
          <p:nvGrpSpPr>
            <p:cNvPr id="154" name="Group 401"/>
            <p:cNvGrpSpPr/>
            <p:nvPr/>
          </p:nvGrpSpPr>
          <p:grpSpPr>
            <a:xfrm>
              <a:off x="7789724" y="5249830"/>
              <a:ext cx="1109068" cy="591614"/>
              <a:chOff x="5166492" y="5918232"/>
              <a:chExt cx="1109068" cy="591614"/>
            </a:xfrm>
          </p:grpSpPr>
          <p:grpSp>
            <p:nvGrpSpPr>
              <p:cNvPr id="155" name="Group 402"/>
              <p:cNvGrpSpPr/>
              <p:nvPr/>
            </p:nvGrpSpPr>
            <p:grpSpPr>
              <a:xfrm>
                <a:off x="5166492" y="5918232"/>
                <a:ext cx="1109068" cy="276999"/>
                <a:chOff x="763623" y="2662134"/>
                <a:chExt cx="1368356" cy="276999"/>
              </a:xfrm>
              <a:solidFill>
                <a:schemeClr val="accent4">
                  <a:lumMod val="40000"/>
                  <a:lumOff val="60000"/>
                </a:schemeClr>
              </a:solidFill>
            </p:grpSpPr>
            <p:sp>
              <p:nvSpPr>
                <p:cNvPr id="159" name="TextBox 158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02115 </a:t>
                  </a:r>
                </a:p>
              </p:txBody>
            </p:sp>
            <p:sp>
              <p:nvSpPr>
                <p:cNvPr id="160" name="TextBox 159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15 </a:t>
                  </a:r>
                </a:p>
              </p:txBody>
            </p:sp>
          </p:grpSp>
          <p:grpSp>
            <p:nvGrpSpPr>
              <p:cNvPr id="156" name="Group 403"/>
              <p:cNvGrpSpPr/>
              <p:nvPr/>
            </p:nvGrpSpPr>
            <p:grpSpPr>
              <a:xfrm>
                <a:off x="5166492" y="6232847"/>
                <a:ext cx="1109068" cy="276999"/>
                <a:chOff x="763623" y="2662134"/>
                <a:chExt cx="1368356" cy="276999"/>
              </a:xfrm>
              <a:solidFill>
                <a:schemeClr val="accent4">
                  <a:lumMod val="40000"/>
                  <a:lumOff val="60000"/>
                </a:schemeClr>
              </a:solidFill>
            </p:grpSpPr>
            <p:sp>
              <p:nvSpPr>
                <p:cNvPr id="157" name="TextBox 156"/>
                <p:cNvSpPr txBox="1"/>
                <p:nvPr/>
              </p:nvSpPr>
              <p:spPr>
                <a:xfrm>
                  <a:off x="763623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02115 </a:t>
                  </a:r>
                </a:p>
              </p:txBody>
            </p:sp>
            <p:sp>
              <p:nvSpPr>
                <p:cNvPr id="158" name="TextBox 157"/>
                <p:cNvSpPr txBox="1"/>
                <p:nvPr/>
              </p:nvSpPr>
              <p:spPr>
                <a:xfrm>
                  <a:off x="1515892" y="2662134"/>
                  <a:ext cx="616087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15 </a:t>
                  </a:r>
                </a:p>
              </p:txBody>
            </p:sp>
          </p:grpSp>
        </p:grpSp>
      </p:grpSp>
      <p:grpSp>
        <p:nvGrpSpPr>
          <p:cNvPr id="167" name="Group 441"/>
          <p:cNvGrpSpPr/>
          <p:nvPr/>
        </p:nvGrpSpPr>
        <p:grpSpPr>
          <a:xfrm>
            <a:off x="8919701" y="931549"/>
            <a:ext cx="3071375" cy="5526673"/>
            <a:chOff x="3415395" y="1046801"/>
            <a:chExt cx="2304131" cy="5526673"/>
          </a:xfrm>
        </p:grpSpPr>
        <p:grpSp>
          <p:nvGrpSpPr>
            <p:cNvPr id="168" name="Group 442"/>
            <p:cNvGrpSpPr/>
            <p:nvPr/>
          </p:nvGrpSpPr>
          <p:grpSpPr>
            <a:xfrm>
              <a:off x="3415395" y="1046801"/>
              <a:ext cx="2304131" cy="5526673"/>
              <a:chOff x="3415395" y="1046801"/>
              <a:chExt cx="2304131" cy="5526673"/>
            </a:xfrm>
          </p:grpSpPr>
          <p:grpSp>
            <p:nvGrpSpPr>
              <p:cNvPr id="185" name="Group 459"/>
              <p:cNvGrpSpPr/>
              <p:nvPr/>
            </p:nvGrpSpPr>
            <p:grpSpPr>
              <a:xfrm>
                <a:off x="3415395" y="1348774"/>
                <a:ext cx="1048215" cy="4938713"/>
                <a:chOff x="4544038" y="1199883"/>
                <a:chExt cx="1048215" cy="4938713"/>
              </a:xfrm>
            </p:grpSpPr>
            <p:grpSp>
              <p:nvGrpSpPr>
                <p:cNvPr id="189" name="Group 463"/>
                <p:cNvGrpSpPr/>
                <p:nvPr/>
              </p:nvGrpSpPr>
              <p:grpSpPr>
                <a:xfrm>
                  <a:off x="4563882" y="1199883"/>
                  <a:ext cx="997835" cy="479261"/>
                  <a:chOff x="4758420" y="740994"/>
                  <a:chExt cx="997835" cy="479261"/>
                </a:xfrm>
              </p:grpSpPr>
              <p:sp>
                <p:nvSpPr>
                  <p:cNvPr id="198" name="Oval 472"/>
                  <p:cNvSpPr/>
                  <p:nvPr/>
                </p:nvSpPr>
                <p:spPr bwMode="auto">
                  <a:xfrm flipH="1">
                    <a:off x="4935125" y="740994"/>
                    <a:ext cx="630936" cy="479261"/>
                  </a:xfrm>
                  <a:prstGeom prst="ellipse">
                    <a:avLst/>
                  </a:prstGeom>
                  <a:solidFill>
                    <a:srgbClr val="FF5050"/>
                  </a:solidFill>
                  <a:ln w="19050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>
                    <a:innerShdw blurRad="114300">
                      <a:prstClr val="black"/>
                    </a:innerShdw>
                  </a:effectLst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p:spPr>
                <p:txBody>
                  <a:bodyPr vert="horz" wrap="non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400" dirty="0">
                        <a:solidFill>
                          <a:srgbClr val="01020B"/>
                        </a:solidFill>
                        <a:latin typeface="+mj-lt"/>
                      </a:rPr>
                      <a:t>SUM</a:t>
                    </a:r>
                  </a:p>
                </p:txBody>
              </p:sp>
              <p:cxnSp>
                <p:nvCxnSpPr>
                  <p:cNvPr id="199" name="Straight Arrow Connector 473"/>
                  <p:cNvCxnSpPr/>
                  <p:nvPr/>
                </p:nvCxnSpPr>
                <p:spPr bwMode="auto">
                  <a:xfrm>
                    <a:off x="4758420" y="980624"/>
                    <a:ext cx="182880" cy="0"/>
                  </a:xfrm>
                  <a:prstGeom prst="straightConnector1">
                    <a:avLst/>
                  </a:prstGeom>
                  <a:solidFill>
                    <a:srgbClr val="92D050"/>
                  </a:solidFill>
                  <a:ln w="28575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00" name="Straight Arrow Connector 474"/>
                  <p:cNvCxnSpPr/>
                  <p:nvPr/>
                </p:nvCxnSpPr>
                <p:spPr bwMode="auto">
                  <a:xfrm>
                    <a:off x="5573375" y="980624"/>
                    <a:ext cx="182880" cy="0"/>
                  </a:xfrm>
                  <a:prstGeom prst="straightConnector1">
                    <a:avLst/>
                  </a:prstGeom>
                  <a:solidFill>
                    <a:srgbClr val="92D050"/>
                  </a:solidFill>
                  <a:ln w="28575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arrow"/>
                  </a:ln>
                  <a:effectLst/>
                </p:spPr>
              </p:cxnSp>
            </p:grpSp>
            <p:grpSp>
              <p:nvGrpSpPr>
                <p:cNvPr id="190" name="Group 464"/>
                <p:cNvGrpSpPr/>
                <p:nvPr/>
              </p:nvGrpSpPr>
              <p:grpSpPr>
                <a:xfrm>
                  <a:off x="4576045" y="3458582"/>
                  <a:ext cx="1002339" cy="479261"/>
                  <a:chOff x="4770583" y="783584"/>
                  <a:chExt cx="1002339" cy="479261"/>
                </a:xfrm>
              </p:grpSpPr>
              <p:sp>
                <p:nvSpPr>
                  <p:cNvPr id="195" name="Oval 469"/>
                  <p:cNvSpPr/>
                  <p:nvPr/>
                </p:nvSpPr>
                <p:spPr bwMode="auto">
                  <a:xfrm flipH="1">
                    <a:off x="4948980" y="783584"/>
                    <a:ext cx="630936" cy="479261"/>
                  </a:xfrm>
                  <a:prstGeom prst="ellipse">
                    <a:avLst/>
                  </a:prstGeom>
                  <a:solidFill>
                    <a:srgbClr val="FF5050"/>
                  </a:solidFill>
                  <a:ln w="19050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>
                    <a:innerShdw blurRad="114300">
                      <a:prstClr val="black"/>
                    </a:innerShdw>
                  </a:effectLst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p:spPr>
                <p:txBody>
                  <a:bodyPr vert="horz" wrap="non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400" dirty="0">
                        <a:solidFill>
                          <a:srgbClr val="01020B"/>
                        </a:solidFill>
                        <a:latin typeface="+mj-lt"/>
                      </a:rPr>
                      <a:t>SUM</a:t>
                    </a:r>
                  </a:p>
                </p:txBody>
              </p:sp>
              <p:cxnSp>
                <p:nvCxnSpPr>
                  <p:cNvPr id="196" name="Straight Arrow Connector 470"/>
                  <p:cNvCxnSpPr/>
                  <p:nvPr/>
                </p:nvCxnSpPr>
                <p:spPr bwMode="auto">
                  <a:xfrm>
                    <a:off x="4770583" y="1023214"/>
                    <a:ext cx="182880" cy="0"/>
                  </a:xfrm>
                  <a:prstGeom prst="straightConnector1">
                    <a:avLst/>
                  </a:prstGeom>
                  <a:solidFill>
                    <a:srgbClr val="92D050"/>
                  </a:solidFill>
                  <a:ln w="28575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197" name="Straight Arrow Connector 471"/>
                  <p:cNvCxnSpPr/>
                  <p:nvPr/>
                </p:nvCxnSpPr>
                <p:spPr bwMode="auto">
                  <a:xfrm>
                    <a:off x="5590042" y="1023214"/>
                    <a:ext cx="182880" cy="0"/>
                  </a:xfrm>
                  <a:prstGeom prst="straightConnector1">
                    <a:avLst/>
                  </a:prstGeom>
                  <a:solidFill>
                    <a:srgbClr val="92D050"/>
                  </a:solidFill>
                  <a:ln w="28575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arrow"/>
                  </a:ln>
                  <a:effectLst/>
                </p:spPr>
              </p:cxnSp>
            </p:grpSp>
            <p:grpSp>
              <p:nvGrpSpPr>
                <p:cNvPr id="191" name="Group 465"/>
                <p:cNvGrpSpPr/>
                <p:nvPr/>
              </p:nvGrpSpPr>
              <p:grpSpPr>
                <a:xfrm>
                  <a:off x="4544038" y="5659335"/>
                  <a:ext cx="1048215" cy="479261"/>
                  <a:chOff x="4738576" y="764546"/>
                  <a:chExt cx="1048215" cy="479261"/>
                </a:xfrm>
              </p:grpSpPr>
              <p:sp>
                <p:nvSpPr>
                  <p:cNvPr id="192" name="Oval 466"/>
                  <p:cNvSpPr/>
                  <p:nvPr/>
                </p:nvSpPr>
                <p:spPr bwMode="auto">
                  <a:xfrm flipH="1">
                    <a:off x="4935417" y="764546"/>
                    <a:ext cx="630936" cy="479261"/>
                  </a:xfrm>
                  <a:prstGeom prst="ellipse">
                    <a:avLst/>
                  </a:prstGeom>
                  <a:solidFill>
                    <a:srgbClr val="FF5050"/>
                  </a:solidFill>
                  <a:ln w="19050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>
                    <a:innerShdw blurRad="114300">
                      <a:prstClr val="black"/>
                    </a:innerShdw>
                  </a:effectLst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p:spPr>
                <p:txBody>
                  <a:bodyPr vert="horz" wrap="non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r>
                      <a:rPr lang="en-US" sz="1400" dirty="0">
                        <a:solidFill>
                          <a:srgbClr val="01020B"/>
                        </a:solidFill>
                        <a:latin typeface="+mj-lt"/>
                      </a:rPr>
                      <a:t>SUM</a:t>
                    </a:r>
                  </a:p>
                </p:txBody>
              </p:sp>
              <p:cxnSp>
                <p:nvCxnSpPr>
                  <p:cNvPr id="193" name="Straight Arrow Connector 467"/>
                  <p:cNvCxnSpPr/>
                  <p:nvPr/>
                </p:nvCxnSpPr>
                <p:spPr bwMode="auto">
                  <a:xfrm>
                    <a:off x="4738576" y="1004176"/>
                    <a:ext cx="210312" cy="0"/>
                  </a:xfrm>
                  <a:prstGeom prst="straightConnector1">
                    <a:avLst/>
                  </a:prstGeom>
                  <a:solidFill>
                    <a:srgbClr val="92D050"/>
                  </a:solidFill>
                  <a:ln w="28575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194" name="Straight Arrow Connector 468"/>
                  <p:cNvCxnSpPr/>
                  <p:nvPr/>
                </p:nvCxnSpPr>
                <p:spPr bwMode="auto">
                  <a:xfrm>
                    <a:off x="5576479" y="1004176"/>
                    <a:ext cx="210312" cy="0"/>
                  </a:xfrm>
                  <a:prstGeom prst="straightConnector1">
                    <a:avLst/>
                  </a:prstGeom>
                  <a:solidFill>
                    <a:srgbClr val="92D050"/>
                  </a:solidFill>
                  <a:ln w="28575" cap="flat" cmpd="sng" algn="ctr">
                    <a:solidFill>
                      <a:srgbClr val="01020B"/>
                    </a:solidFill>
                    <a:prstDash val="solid"/>
                    <a:round/>
                    <a:headEnd type="none" w="med" len="med"/>
                    <a:tailEnd type="arrow"/>
                  </a:ln>
                  <a:effectLst/>
                </p:spPr>
              </p:cxnSp>
            </p:grpSp>
          </p:grpSp>
          <p:sp>
            <p:nvSpPr>
              <p:cNvPr id="186" name="Rounded Rectangle 460"/>
              <p:cNvSpPr/>
              <p:nvPr/>
            </p:nvSpPr>
            <p:spPr bwMode="auto">
              <a:xfrm>
                <a:off x="4423040" y="1046801"/>
                <a:ext cx="1276350" cy="1098341"/>
              </a:xfrm>
              <a:prstGeom prst="round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sp>
            <p:nvSpPr>
              <p:cNvPr id="187" name="Rounded Rectangle 461"/>
              <p:cNvSpPr/>
              <p:nvPr/>
            </p:nvSpPr>
            <p:spPr bwMode="auto">
              <a:xfrm>
                <a:off x="4443176" y="3256601"/>
                <a:ext cx="1276350" cy="1098341"/>
              </a:xfrm>
              <a:prstGeom prst="round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  <p:sp>
            <p:nvSpPr>
              <p:cNvPr id="188" name="Rounded Rectangle 462"/>
              <p:cNvSpPr/>
              <p:nvPr/>
            </p:nvSpPr>
            <p:spPr bwMode="auto">
              <a:xfrm>
                <a:off x="4443176" y="5475133"/>
                <a:ext cx="1276350" cy="1098341"/>
              </a:xfrm>
              <a:prstGeom prst="round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01020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1020B"/>
                  </a:solidFill>
                  <a:latin typeface="+mj-lt"/>
                </a:endParaRPr>
              </a:p>
            </p:txBody>
          </p:sp>
        </p:grpSp>
        <p:grpSp>
          <p:nvGrpSpPr>
            <p:cNvPr id="169" name="Group 443"/>
            <p:cNvGrpSpPr/>
            <p:nvPr/>
          </p:nvGrpSpPr>
          <p:grpSpPr>
            <a:xfrm>
              <a:off x="4496291" y="3515050"/>
              <a:ext cx="1192709" cy="578926"/>
              <a:chOff x="292267" y="2315443"/>
              <a:chExt cx="1192709" cy="578926"/>
            </a:xfrm>
          </p:grpSpPr>
          <p:grpSp>
            <p:nvGrpSpPr>
              <p:cNvPr id="179" name="Group 453"/>
              <p:cNvGrpSpPr/>
              <p:nvPr/>
            </p:nvGrpSpPr>
            <p:grpSpPr>
              <a:xfrm>
                <a:off x="292267" y="2315443"/>
                <a:ext cx="1192709" cy="276999"/>
                <a:chOff x="-91077" y="2662134"/>
                <a:chExt cx="1471551" cy="276999"/>
              </a:xfrm>
              <a:solidFill>
                <a:schemeClr val="accent6"/>
              </a:solidFill>
            </p:grpSpPr>
            <p:sp>
              <p:nvSpPr>
                <p:cNvPr id="183" name="TextBox 182"/>
                <p:cNvSpPr txBox="1"/>
                <p:nvPr/>
              </p:nvSpPr>
              <p:spPr>
                <a:xfrm>
                  <a:off x="-91077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10025 </a:t>
                  </a:r>
                </a:p>
              </p:txBody>
            </p:sp>
            <p:sp>
              <p:nvSpPr>
                <p:cNvPr id="184" name="TextBox 183"/>
                <p:cNvSpPr txBox="1"/>
                <p:nvPr/>
              </p:nvSpPr>
              <p:spPr>
                <a:xfrm>
                  <a:off x="661192" y="2662134"/>
                  <a:ext cx="719282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155 </a:t>
                  </a:r>
                </a:p>
              </p:txBody>
            </p:sp>
          </p:grpSp>
          <p:grpSp>
            <p:nvGrpSpPr>
              <p:cNvPr id="180" name="Group 454"/>
              <p:cNvGrpSpPr/>
              <p:nvPr/>
            </p:nvGrpSpPr>
            <p:grpSpPr>
              <a:xfrm>
                <a:off x="292267" y="2617370"/>
                <a:ext cx="1192709" cy="276999"/>
                <a:chOff x="-91077" y="2662134"/>
                <a:chExt cx="1471551" cy="276999"/>
              </a:xfrm>
              <a:solidFill>
                <a:srgbClr val="B6FF23"/>
              </a:solidFill>
            </p:grpSpPr>
            <p:sp>
              <p:nvSpPr>
                <p:cNvPr id="181" name="TextBox 180"/>
                <p:cNvSpPr txBox="1"/>
                <p:nvPr/>
              </p:nvSpPr>
              <p:spPr>
                <a:xfrm>
                  <a:off x="-91077" y="2662134"/>
                  <a:ext cx="752269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44313 </a:t>
                  </a:r>
                </a:p>
              </p:txBody>
            </p:sp>
            <p:sp>
              <p:nvSpPr>
                <p:cNvPr id="182" name="TextBox 181"/>
                <p:cNvSpPr txBox="1"/>
                <p:nvPr/>
              </p:nvSpPr>
              <p:spPr>
                <a:xfrm>
                  <a:off x="661192" y="2662134"/>
                  <a:ext cx="719282" cy="276999"/>
                </a:xfrm>
                <a:prstGeom prst="rect">
                  <a:avLst/>
                </a:prstGeom>
                <a:grpFill/>
                <a:ln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rgbClr val="01020B"/>
                      </a:solidFill>
                      <a:latin typeface="+mj-lt"/>
                    </a:rPr>
                    <a:t>$90 </a:t>
                  </a:r>
                </a:p>
              </p:txBody>
            </p:sp>
          </p:grpSp>
        </p:grpSp>
        <p:grpSp>
          <p:nvGrpSpPr>
            <p:cNvPr id="170" name="Group 444"/>
            <p:cNvGrpSpPr/>
            <p:nvPr/>
          </p:nvGrpSpPr>
          <p:grpSpPr>
            <a:xfrm>
              <a:off x="4461549" y="1449904"/>
              <a:ext cx="1196211" cy="276999"/>
              <a:chOff x="143106" y="2662134"/>
              <a:chExt cx="1196180" cy="276999"/>
            </a:xfrm>
            <a:solidFill>
              <a:srgbClr val="FFFF00"/>
            </a:solidFill>
          </p:grpSpPr>
          <p:sp>
            <p:nvSpPr>
              <p:cNvPr id="177" name="TextBox 176"/>
              <p:cNvSpPr txBox="1"/>
              <p:nvPr/>
            </p:nvSpPr>
            <p:spPr>
              <a:xfrm>
                <a:off x="143106" y="2662134"/>
                <a:ext cx="666180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53705 </a:t>
                </a:r>
              </a:p>
            </p:txBody>
          </p:sp>
          <p:sp>
            <p:nvSpPr>
              <p:cNvPr id="178" name="TextBox 177"/>
              <p:cNvSpPr txBox="1"/>
              <p:nvPr/>
            </p:nvSpPr>
            <p:spPr>
              <a:xfrm>
                <a:off x="809288" y="2662134"/>
                <a:ext cx="529998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110 </a:t>
                </a:r>
              </a:p>
            </p:txBody>
          </p:sp>
        </p:grpSp>
        <p:grpSp>
          <p:nvGrpSpPr>
            <p:cNvPr id="171" name="Group 445"/>
            <p:cNvGrpSpPr/>
            <p:nvPr/>
          </p:nvGrpSpPr>
          <p:grpSpPr>
            <a:xfrm>
              <a:off x="4480968" y="6010488"/>
              <a:ext cx="1192206" cy="276999"/>
              <a:chOff x="-108171" y="2662134"/>
              <a:chExt cx="1470931" cy="276999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75" name="TextBox 174"/>
              <p:cNvSpPr txBox="1"/>
              <p:nvPr/>
            </p:nvSpPr>
            <p:spPr>
              <a:xfrm>
                <a:off x="-108171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54235 </a:t>
                </a:r>
              </a:p>
            </p:txBody>
          </p:sp>
          <p:sp>
            <p:nvSpPr>
              <p:cNvPr id="176" name="TextBox 175"/>
              <p:cNvSpPr txBox="1"/>
              <p:nvPr/>
            </p:nvSpPr>
            <p:spPr>
              <a:xfrm>
                <a:off x="644099" y="2662134"/>
                <a:ext cx="718661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97 </a:t>
                </a:r>
              </a:p>
            </p:txBody>
          </p:sp>
        </p:grpSp>
        <p:grpSp>
          <p:nvGrpSpPr>
            <p:cNvPr id="172" name="Group 446"/>
            <p:cNvGrpSpPr/>
            <p:nvPr/>
          </p:nvGrpSpPr>
          <p:grpSpPr>
            <a:xfrm>
              <a:off x="4476965" y="5685457"/>
              <a:ext cx="1196208" cy="276999"/>
              <a:chOff x="-108171" y="2662134"/>
              <a:chExt cx="1475868" cy="276999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173" name="TextBox 172"/>
              <p:cNvSpPr txBox="1"/>
              <p:nvPr/>
            </p:nvSpPr>
            <p:spPr>
              <a:xfrm>
                <a:off x="-108171" y="2662134"/>
                <a:ext cx="75226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02115 </a:t>
                </a:r>
              </a:p>
            </p:txBody>
          </p:sp>
          <p:sp>
            <p:nvSpPr>
              <p:cNvPr id="174" name="TextBox 173"/>
              <p:cNvSpPr txBox="1"/>
              <p:nvPr/>
            </p:nvSpPr>
            <p:spPr>
              <a:xfrm>
                <a:off x="644098" y="2662134"/>
                <a:ext cx="723599" cy="276999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rgbClr val="01020B"/>
                    </a:solidFill>
                    <a:latin typeface="+mj-lt"/>
                  </a:rPr>
                  <a:t>$30 </a:t>
                </a:r>
              </a:p>
            </p:txBody>
          </p:sp>
        </p:grpSp>
      </p:grpSp>
      <p:sp>
        <p:nvSpPr>
          <p:cNvPr id="201" name="Rectangle 24"/>
          <p:cNvSpPr/>
          <p:nvPr/>
        </p:nvSpPr>
        <p:spPr>
          <a:xfrm rot="20818857">
            <a:off x="9048197" y="2325381"/>
            <a:ext cx="2513830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ctr"/>
            <a:r>
              <a:rPr lang="en-US" sz="50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oper Black" pitchFamily="18" charset="0"/>
              </a:rPr>
              <a:t>Done!</a:t>
            </a:r>
          </a:p>
        </p:txBody>
      </p:sp>
      <p:sp>
        <p:nvSpPr>
          <p:cNvPr id="202" name="TextBox 15"/>
          <p:cNvSpPr txBox="1"/>
          <p:nvPr/>
        </p:nvSpPr>
        <p:spPr>
          <a:xfrm rot="16200000">
            <a:off x="2726667" y="3536631"/>
            <a:ext cx="1828800" cy="307777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rgbClr val="FFFF00"/>
                </a:solidFill>
              </a:rPr>
              <a:t>Shuffle</a:t>
            </a:r>
          </a:p>
        </p:txBody>
      </p:sp>
      <p:sp>
        <p:nvSpPr>
          <p:cNvPr id="203" name="Rectangle 207"/>
          <p:cNvSpPr/>
          <p:nvPr/>
        </p:nvSpPr>
        <p:spPr bwMode="auto">
          <a:xfrm>
            <a:off x="1163928" y="1210059"/>
            <a:ext cx="1612745" cy="692751"/>
          </a:xfrm>
          <a:prstGeom prst="rect">
            <a:avLst/>
          </a:prstGeom>
          <a:noFill/>
          <a:ln w="28575" cap="flat" cmpd="sng" algn="ctr">
            <a:solidFill>
              <a:srgbClr val="01020B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1020B"/>
              </a:solidFill>
              <a:latin typeface="+mj-lt"/>
            </a:endParaRPr>
          </a:p>
        </p:txBody>
      </p:sp>
      <p:sp>
        <p:nvSpPr>
          <p:cNvPr id="204" name="Rectangle 208"/>
          <p:cNvSpPr/>
          <p:nvPr/>
        </p:nvSpPr>
        <p:spPr bwMode="auto">
          <a:xfrm>
            <a:off x="1163928" y="1970846"/>
            <a:ext cx="1612745" cy="960120"/>
          </a:xfrm>
          <a:prstGeom prst="rect">
            <a:avLst/>
          </a:prstGeom>
          <a:noFill/>
          <a:ln w="28575" cap="flat" cmpd="sng" algn="ctr">
            <a:solidFill>
              <a:srgbClr val="01020B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1020B"/>
              </a:solidFill>
              <a:latin typeface="+mj-lt"/>
            </a:endParaRPr>
          </a:p>
        </p:txBody>
      </p:sp>
      <p:sp>
        <p:nvSpPr>
          <p:cNvPr id="205" name="Rectangle 209"/>
          <p:cNvSpPr/>
          <p:nvPr/>
        </p:nvSpPr>
        <p:spPr bwMode="auto">
          <a:xfrm>
            <a:off x="1163928" y="2985139"/>
            <a:ext cx="1612745" cy="423533"/>
          </a:xfrm>
          <a:prstGeom prst="rect">
            <a:avLst/>
          </a:prstGeom>
          <a:noFill/>
          <a:ln w="28575" cap="flat" cmpd="sng" algn="ctr">
            <a:solidFill>
              <a:srgbClr val="01020B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1020B"/>
              </a:solidFill>
              <a:latin typeface="+mj-lt"/>
            </a:endParaRPr>
          </a:p>
        </p:txBody>
      </p:sp>
      <p:grpSp>
        <p:nvGrpSpPr>
          <p:cNvPr id="206" name="Group 2"/>
          <p:cNvGrpSpPr/>
          <p:nvPr/>
        </p:nvGrpSpPr>
        <p:grpSpPr>
          <a:xfrm>
            <a:off x="1176624" y="4256594"/>
            <a:ext cx="1612745" cy="2197075"/>
            <a:chOff x="881506" y="4256592"/>
            <a:chExt cx="1209874" cy="2197075"/>
          </a:xfrm>
        </p:grpSpPr>
        <p:sp>
          <p:nvSpPr>
            <p:cNvPr id="207" name="Rectangle 210"/>
            <p:cNvSpPr/>
            <p:nvPr/>
          </p:nvSpPr>
          <p:spPr bwMode="auto">
            <a:xfrm>
              <a:off x="881506" y="4256592"/>
              <a:ext cx="1209874" cy="692751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sp>
          <p:nvSpPr>
            <p:cNvPr id="208" name="Rectangle 211"/>
            <p:cNvSpPr/>
            <p:nvPr/>
          </p:nvSpPr>
          <p:spPr bwMode="auto">
            <a:xfrm>
              <a:off x="881506" y="5030984"/>
              <a:ext cx="1209874" cy="692751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  <p:sp>
          <p:nvSpPr>
            <p:cNvPr id="209" name="Rectangle 212"/>
            <p:cNvSpPr/>
            <p:nvPr/>
          </p:nvSpPr>
          <p:spPr bwMode="auto">
            <a:xfrm>
              <a:off x="881506" y="5760916"/>
              <a:ext cx="1209874" cy="692751"/>
            </a:xfrm>
            <a:prstGeom prst="rect">
              <a:avLst/>
            </a:prstGeom>
            <a:noFill/>
            <a:ln w="28575" cap="flat" cmpd="sng" algn="ctr">
              <a:solidFill>
                <a:srgbClr val="01020B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1020B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2565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75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25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750"/>
                            </p:stCondLst>
                            <p:childTnLst>
                              <p:par>
                                <p:cTn id="54" presetID="10" presetClass="exit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250"/>
                            </p:stCondLst>
                            <p:childTnLst>
                              <p:par>
                                <p:cTn id="8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500"/>
                            </p:stCondLst>
                            <p:childTnLst>
                              <p:par>
                                <p:cTn id="13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6" grpId="0" animBg="1"/>
      <p:bldP spid="16" grpId="1" animBg="1"/>
      <p:bldP spid="20" grpId="0" animBg="1"/>
      <p:bldP spid="20" grpId="1" animBg="1"/>
      <p:bldP spid="201" grpId="0"/>
      <p:bldP spid="202" grpId="0" animBg="1"/>
      <p:bldP spid="202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adoop Architecture</a:t>
            </a:r>
            <a:endParaRPr lang="ko-KR" altLang="en-US"/>
          </a:p>
        </p:txBody>
      </p:sp>
      <p:grpSp>
        <p:nvGrpSpPr>
          <p:cNvPr id="3" name="Group 5"/>
          <p:cNvGrpSpPr/>
          <p:nvPr/>
        </p:nvGrpSpPr>
        <p:grpSpPr>
          <a:xfrm>
            <a:off x="4483941" y="1508879"/>
            <a:ext cx="6206172" cy="4572000"/>
            <a:chOff x="4482353" y="2126379"/>
            <a:chExt cx="6206172" cy="4572000"/>
          </a:xfrm>
        </p:grpSpPr>
        <p:sp>
          <p:nvSpPr>
            <p:cNvPr id="4" name="TextBox 3"/>
            <p:cNvSpPr txBox="1"/>
            <p:nvPr/>
          </p:nvSpPr>
          <p:spPr>
            <a:xfrm>
              <a:off x="4482353" y="2967293"/>
              <a:ext cx="1581197" cy="64633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lnSpc>
                  <a:spcPct val="90000"/>
                </a:lnSpc>
                <a:defRPr/>
              </a:pPr>
              <a:r>
                <a:rPr lang="en-US" sz="2000" kern="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alpha val="99000"/>
                    </a:schemeClr>
                  </a:solidFill>
                </a:rPr>
                <a:t>MapReduce Layer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697630" y="5268139"/>
              <a:ext cx="1365919" cy="64633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>
                <a:lnSpc>
                  <a:spcPct val="90000"/>
                </a:lnSpc>
                <a:defRPr/>
              </a:pPr>
              <a:r>
                <a:rPr lang="en-US" sz="2000" kern="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alpha val="99000"/>
                    </a:schemeClr>
                  </a:solidFill>
                </a:rPr>
                <a:t>HDFS </a:t>
              </a:r>
              <a:br>
                <a:rPr lang="en-US" sz="2000" kern="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alpha val="99000"/>
                    </a:schemeClr>
                  </a:solidFill>
                </a:rPr>
              </a:br>
              <a:r>
                <a:rPr lang="en-US" sz="2000" kern="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tx1">
                      <a:alpha val="99000"/>
                    </a:schemeClr>
                  </a:solidFill>
                </a:rPr>
                <a:t>Layer</a:t>
              </a:r>
            </a:p>
          </p:txBody>
        </p:sp>
        <p:grpSp>
          <p:nvGrpSpPr>
            <p:cNvPr id="6" name="Group 8"/>
            <p:cNvGrpSpPr/>
            <p:nvPr/>
          </p:nvGrpSpPr>
          <p:grpSpPr>
            <a:xfrm>
              <a:off x="6116525" y="2126379"/>
              <a:ext cx="4572000" cy="4572000"/>
              <a:chOff x="5508514" y="2126380"/>
              <a:chExt cx="5391713" cy="4462379"/>
            </a:xfrm>
          </p:grpSpPr>
          <p:sp>
            <p:nvSpPr>
              <p:cNvPr id="7" name="Rectangle 9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5508514" y="2126380"/>
                <a:ext cx="5391713" cy="4462379"/>
              </a:xfrm>
              <a:prstGeom prst="rect">
                <a:avLst/>
              </a:prstGeom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1001">
                <a:schemeClr val="dk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lnSpc>
                    <a:spcPct val="90000"/>
                  </a:lnSpc>
                </a:pPr>
                <a:endParaRPr lang="en-US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8" name="Round Same Side Corner Rectangle 73"/>
              <p:cNvSpPr/>
              <p:nvPr/>
            </p:nvSpPr>
            <p:spPr>
              <a:xfrm>
                <a:off x="8330739" y="2251432"/>
                <a:ext cx="2443120" cy="421227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 cap="flat" cmpd="sng" algn="ctr">
                <a:solidFill>
                  <a:schemeClr val="accent2"/>
                </a:solidFill>
                <a:prstDash val="solid"/>
                <a:tailEnd type="stealth" w="lg" len="lg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kern="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9" name="Round Same Side Corner Rectangle 73"/>
              <p:cNvSpPr/>
              <p:nvPr>
                <p:custDataLst>
                  <p:tags r:id="rId2"/>
                </p:custDataLst>
              </p:nvPr>
            </p:nvSpPr>
            <p:spPr>
              <a:xfrm>
                <a:off x="5634882" y="2251432"/>
                <a:ext cx="2443120" cy="421227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 cap="flat" cmpd="sng" algn="ctr">
                <a:solidFill>
                  <a:schemeClr val="accent2"/>
                </a:solidFill>
                <a:prstDash val="solid"/>
                <a:tailEnd type="stealth" w="lg" len="lg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en-US" kern="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10" name="Rectangle 12"/>
              <p:cNvSpPr/>
              <p:nvPr>
                <p:custDataLst>
                  <p:tags r:id="rId3"/>
                </p:custDataLst>
              </p:nvPr>
            </p:nvSpPr>
            <p:spPr>
              <a:xfrm>
                <a:off x="8499230" y="2377800"/>
                <a:ext cx="2106138" cy="75821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</a:rPr>
                  <a:t>Task tracker</a:t>
                </a:r>
              </a:p>
            </p:txBody>
          </p:sp>
          <p:cxnSp>
            <p:nvCxnSpPr>
              <p:cNvPr id="11" name="Straight Arrow Connector 13"/>
              <p:cNvCxnSpPr>
                <a:stCxn id="12" idx="2"/>
                <a:endCxn id="13" idx="0"/>
              </p:cNvCxnSpPr>
              <p:nvPr>
                <p:custDataLst>
                  <p:tags r:id="rId4"/>
                </p:custDataLst>
              </p:nvPr>
            </p:nvCxnSpPr>
            <p:spPr>
              <a:xfrm>
                <a:off x="6856442" y="3136010"/>
                <a:ext cx="0" cy="308900"/>
              </a:xfrm>
              <a:prstGeom prst="straightConnector1">
                <a:avLst/>
              </a:prstGeom>
              <a:ln w="28575">
                <a:solidFill>
                  <a:schemeClr val="bg2">
                    <a:lumMod val="50000"/>
                  </a:schemeClr>
                </a:solidFill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Rectangle 14"/>
              <p:cNvSpPr/>
              <p:nvPr>
                <p:custDataLst>
                  <p:tags r:id="rId5"/>
                </p:custDataLst>
              </p:nvPr>
            </p:nvSpPr>
            <p:spPr>
              <a:xfrm>
                <a:off x="5803373" y="2377800"/>
                <a:ext cx="2106138" cy="75821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</a:rPr>
                  <a:t>Task tracker</a:t>
                </a:r>
              </a:p>
            </p:txBody>
          </p:sp>
          <p:sp>
            <p:nvSpPr>
              <p:cNvPr id="13" name="Rectangle 15"/>
              <p:cNvSpPr/>
              <p:nvPr>
                <p:custDataLst>
                  <p:tags r:id="rId6"/>
                </p:custDataLst>
              </p:nvPr>
            </p:nvSpPr>
            <p:spPr>
              <a:xfrm>
                <a:off x="5803373" y="3444910"/>
                <a:ext cx="2106138" cy="75821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</a:rPr>
                  <a:t>Job tracker</a:t>
                </a:r>
              </a:p>
            </p:txBody>
          </p:sp>
          <p:sp>
            <p:nvSpPr>
              <p:cNvPr id="14" name="Rectangle 16"/>
              <p:cNvSpPr/>
              <p:nvPr>
                <p:custDataLst>
                  <p:tags r:id="rId7"/>
                </p:custDataLst>
              </p:nvPr>
            </p:nvSpPr>
            <p:spPr>
              <a:xfrm>
                <a:off x="5803373" y="4512020"/>
                <a:ext cx="2106138" cy="75821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</a:rPr>
                  <a:t>Name node</a:t>
                </a:r>
              </a:p>
            </p:txBody>
          </p:sp>
          <p:sp>
            <p:nvSpPr>
              <p:cNvPr id="15" name="Rectangle 17"/>
              <p:cNvSpPr/>
              <p:nvPr>
                <p:custDataLst>
                  <p:tags r:id="rId8"/>
                </p:custDataLst>
              </p:nvPr>
            </p:nvSpPr>
            <p:spPr>
              <a:xfrm>
                <a:off x="5803373" y="5579129"/>
                <a:ext cx="2106138" cy="75821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</a:rPr>
                  <a:t>Data node</a:t>
                </a:r>
              </a:p>
            </p:txBody>
          </p:sp>
          <p:sp>
            <p:nvSpPr>
              <p:cNvPr id="16" name="Rectangle 18"/>
              <p:cNvSpPr/>
              <p:nvPr>
                <p:custDataLst>
                  <p:tags r:id="rId9"/>
                </p:custDataLst>
              </p:nvPr>
            </p:nvSpPr>
            <p:spPr>
              <a:xfrm>
                <a:off x="8499230" y="5579129"/>
                <a:ext cx="2106138" cy="75821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chemeClr val="bg1"/>
                    </a:solidFill>
                  </a:rPr>
                  <a:t>Data node</a:t>
                </a:r>
              </a:p>
            </p:txBody>
          </p:sp>
          <p:cxnSp>
            <p:nvCxnSpPr>
              <p:cNvPr id="17" name="Straight Arrow Connector 19"/>
              <p:cNvCxnSpPr>
                <a:stCxn id="14" idx="2"/>
                <a:endCxn id="15" idx="0"/>
              </p:cNvCxnSpPr>
              <p:nvPr>
                <p:custDataLst>
                  <p:tags r:id="rId10"/>
                </p:custDataLst>
              </p:nvPr>
            </p:nvCxnSpPr>
            <p:spPr>
              <a:xfrm>
                <a:off x="6856442" y="5270229"/>
                <a:ext cx="0" cy="308900"/>
              </a:xfrm>
              <a:prstGeom prst="straightConnector1">
                <a:avLst/>
              </a:prstGeom>
              <a:ln w="28575">
                <a:solidFill>
                  <a:schemeClr val="bg2">
                    <a:lumMod val="50000"/>
                  </a:schemeClr>
                </a:solidFill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Elbow Connector 20"/>
              <p:cNvCxnSpPr>
                <a:stCxn id="13" idx="3"/>
                <a:endCxn id="10" idx="2"/>
              </p:cNvCxnSpPr>
              <p:nvPr/>
            </p:nvCxnSpPr>
            <p:spPr>
              <a:xfrm flipV="1">
                <a:off x="7909511" y="3136010"/>
                <a:ext cx="1642788" cy="688005"/>
              </a:xfrm>
              <a:prstGeom prst="bentConnector2">
                <a:avLst/>
              </a:prstGeom>
              <a:ln w="28575">
                <a:solidFill>
                  <a:schemeClr val="bg2">
                    <a:lumMod val="50000"/>
                  </a:schemeClr>
                </a:solidFill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Elbow Connector 21"/>
              <p:cNvCxnSpPr>
                <a:stCxn id="14" idx="3"/>
                <a:endCxn id="16" idx="0"/>
              </p:cNvCxnSpPr>
              <p:nvPr/>
            </p:nvCxnSpPr>
            <p:spPr>
              <a:xfrm>
                <a:off x="7909511" y="4891124"/>
                <a:ext cx="1642788" cy="688005"/>
              </a:xfrm>
              <a:prstGeom prst="bentConnector2">
                <a:avLst/>
              </a:prstGeom>
              <a:ln w="28575">
                <a:solidFill>
                  <a:schemeClr val="bg2">
                    <a:lumMod val="50000"/>
                  </a:schemeClr>
                </a:solidFill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" name="Group 22"/>
          <p:cNvGrpSpPr/>
          <p:nvPr/>
        </p:nvGrpSpPr>
        <p:grpSpPr>
          <a:xfrm flipV="1">
            <a:off x="4657021" y="3794878"/>
            <a:ext cx="5925936" cy="45719"/>
            <a:chOff x="4655433" y="4357570"/>
            <a:chExt cx="6033092" cy="0"/>
          </a:xfrm>
        </p:grpSpPr>
        <p:cxnSp>
          <p:nvCxnSpPr>
            <p:cNvPr id="21" name="Straight Connector 23"/>
            <p:cNvCxnSpPr/>
            <p:nvPr/>
          </p:nvCxnSpPr>
          <p:spPr>
            <a:xfrm>
              <a:off x="4655433" y="4357570"/>
              <a:ext cx="1438979" cy="0"/>
            </a:xfrm>
            <a:prstGeom prst="line">
              <a:avLst/>
            </a:prstGeom>
            <a:ln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Connector 24"/>
            <p:cNvCxnSpPr/>
            <p:nvPr/>
          </p:nvCxnSpPr>
          <p:spPr>
            <a:xfrm>
              <a:off x="6116525" y="4357570"/>
              <a:ext cx="4572000" cy="0"/>
            </a:xfrm>
            <a:prstGeom prst="line">
              <a:avLst/>
            </a:prstGeom>
            <a:ln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23" name="Picture 2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810" y="2642571"/>
            <a:ext cx="3076923" cy="2304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374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re-execution: </a:t>
            </a:r>
            <a:r>
              <a:rPr lang="ko-KR" altLang="en-US" dirty="0"/>
              <a:t>태스크 제출</a:t>
            </a:r>
          </a:p>
        </p:txBody>
      </p:sp>
      <p:sp>
        <p:nvSpPr>
          <p:cNvPr id="3" name="Flowchart: Process 124"/>
          <p:cNvSpPr/>
          <p:nvPr/>
        </p:nvSpPr>
        <p:spPr>
          <a:xfrm>
            <a:off x="6584319" y="2125805"/>
            <a:ext cx="2193838" cy="339202"/>
          </a:xfrm>
          <a:prstGeom prst="flowChart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Pre-Execution</a:t>
            </a:r>
          </a:p>
        </p:txBody>
      </p:sp>
      <p:sp>
        <p:nvSpPr>
          <p:cNvPr id="4" name="Flowchart: Process 133"/>
          <p:cNvSpPr/>
          <p:nvPr/>
        </p:nvSpPr>
        <p:spPr>
          <a:xfrm>
            <a:off x="6584319" y="5778188"/>
            <a:ext cx="2193838" cy="339202"/>
          </a:xfrm>
          <a:prstGeom prst="flowChart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Data Summary</a:t>
            </a:r>
          </a:p>
        </p:txBody>
      </p:sp>
      <p:sp>
        <p:nvSpPr>
          <p:cNvPr id="5" name="Flowchart: Terminator 122"/>
          <p:cNvSpPr/>
          <p:nvPr/>
        </p:nvSpPr>
        <p:spPr>
          <a:xfrm>
            <a:off x="7174968" y="1297497"/>
            <a:ext cx="1012541" cy="334138"/>
          </a:xfrm>
          <a:prstGeom prst="flowChartTermina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INPUT</a:t>
            </a:r>
          </a:p>
        </p:txBody>
      </p:sp>
      <p:sp>
        <p:nvSpPr>
          <p:cNvPr id="6" name="Flowchart: Terminator 123"/>
          <p:cNvSpPr/>
          <p:nvPr/>
        </p:nvSpPr>
        <p:spPr>
          <a:xfrm>
            <a:off x="6927353" y="6539282"/>
            <a:ext cx="1507771" cy="334138"/>
          </a:xfrm>
          <a:prstGeom prst="flowChartTermina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OUTPUT</a:t>
            </a:r>
          </a:p>
        </p:txBody>
      </p:sp>
      <p:sp>
        <p:nvSpPr>
          <p:cNvPr id="7" name="Flowchart: Magnetic Disk 125"/>
          <p:cNvSpPr/>
          <p:nvPr/>
        </p:nvSpPr>
        <p:spPr>
          <a:xfrm>
            <a:off x="3803385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Member 1</a:t>
            </a:r>
          </a:p>
        </p:txBody>
      </p:sp>
      <p:sp>
        <p:nvSpPr>
          <p:cNvPr id="8" name="Flowchart: Process 126"/>
          <p:cNvSpPr/>
          <p:nvPr/>
        </p:nvSpPr>
        <p:spPr>
          <a:xfrm>
            <a:off x="3193322" y="4936091"/>
            <a:ext cx="1350054" cy="425268"/>
          </a:xfrm>
          <a:prstGeom prst="flowChartProcess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Reducer 1</a:t>
            </a:r>
          </a:p>
        </p:txBody>
      </p:sp>
      <p:sp>
        <p:nvSpPr>
          <p:cNvPr id="9" name="Flowchart: Magnetic Disk 127"/>
          <p:cNvSpPr/>
          <p:nvPr/>
        </p:nvSpPr>
        <p:spPr>
          <a:xfrm>
            <a:off x="5938603" y="2900441"/>
            <a:ext cx="1350054" cy="678403"/>
          </a:xfrm>
          <a:prstGeom prst="flowChartMagneticDisk">
            <a:avLst/>
          </a:prstGeom>
          <a:solidFill>
            <a:srgbClr val="00BC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Member 2</a:t>
            </a:r>
          </a:p>
        </p:txBody>
      </p:sp>
      <p:sp>
        <p:nvSpPr>
          <p:cNvPr id="10" name="Flowchart: Magnetic Disk 128"/>
          <p:cNvSpPr/>
          <p:nvPr/>
        </p:nvSpPr>
        <p:spPr>
          <a:xfrm>
            <a:off x="8073821" y="2900441"/>
            <a:ext cx="1350054" cy="678403"/>
          </a:xfrm>
          <a:prstGeom prst="flowChartMagneticDisk">
            <a:avLst/>
          </a:prstGeom>
          <a:solidFill>
            <a:srgbClr val="00BC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Member 3</a:t>
            </a:r>
          </a:p>
        </p:txBody>
      </p:sp>
      <p:sp>
        <p:nvSpPr>
          <p:cNvPr id="11" name="Flowchart: Magnetic Disk 129"/>
          <p:cNvSpPr/>
          <p:nvPr/>
        </p:nvSpPr>
        <p:spPr>
          <a:xfrm>
            <a:off x="10209038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Member N</a:t>
            </a:r>
          </a:p>
        </p:txBody>
      </p:sp>
      <p:sp>
        <p:nvSpPr>
          <p:cNvPr id="12" name="Flowchart: Process 130"/>
          <p:cNvSpPr/>
          <p:nvPr/>
        </p:nvSpPr>
        <p:spPr>
          <a:xfrm>
            <a:off x="4718477" y="4936091"/>
            <a:ext cx="1350054" cy="425268"/>
          </a:xfrm>
          <a:prstGeom prst="flowChartProcess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Reducer 2</a:t>
            </a:r>
          </a:p>
        </p:txBody>
      </p:sp>
      <p:sp>
        <p:nvSpPr>
          <p:cNvPr id="13" name="Flowchart: Process 131"/>
          <p:cNvSpPr/>
          <p:nvPr/>
        </p:nvSpPr>
        <p:spPr>
          <a:xfrm>
            <a:off x="6243632" y="4936091"/>
            <a:ext cx="1350054" cy="425268"/>
          </a:xfrm>
          <a:prstGeom prst="flowChartProcess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Reducer 3</a:t>
            </a:r>
          </a:p>
        </p:txBody>
      </p:sp>
      <p:sp>
        <p:nvSpPr>
          <p:cNvPr id="14" name="Flowchart: Process 132"/>
          <p:cNvSpPr/>
          <p:nvPr/>
        </p:nvSpPr>
        <p:spPr>
          <a:xfrm>
            <a:off x="10819098" y="4936091"/>
            <a:ext cx="1350054" cy="425268"/>
          </a:xfrm>
          <a:prstGeom prst="flowChartProcess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Reducer m</a:t>
            </a:r>
          </a:p>
        </p:txBody>
      </p:sp>
      <p:cxnSp>
        <p:nvCxnSpPr>
          <p:cNvPr id="15" name="Straight Arrow Connector 134"/>
          <p:cNvCxnSpPr>
            <a:stCxn id="5" idx="2"/>
            <a:endCxn id="3" idx="0"/>
          </p:cNvCxnSpPr>
          <p:nvPr/>
        </p:nvCxnSpPr>
        <p:spPr>
          <a:xfrm>
            <a:off x="7681238" y="1631635"/>
            <a:ext cx="0" cy="49417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35"/>
          <p:cNvCxnSpPr>
            <a:stCxn id="3" idx="2"/>
            <a:endCxn id="7" idx="1"/>
          </p:cNvCxnSpPr>
          <p:nvPr/>
        </p:nvCxnSpPr>
        <p:spPr>
          <a:xfrm flipH="1">
            <a:off x="4478412" y="2465007"/>
            <a:ext cx="3202826" cy="442629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36"/>
          <p:cNvCxnSpPr>
            <a:stCxn id="3" idx="2"/>
            <a:endCxn id="10" idx="1"/>
          </p:cNvCxnSpPr>
          <p:nvPr/>
        </p:nvCxnSpPr>
        <p:spPr>
          <a:xfrm>
            <a:off x="7681239" y="2465007"/>
            <a:ext cx="1067609" cy="435434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37"/>
          <p:cNvCxnSpPr>
            <a:stCxn id="3" idx="2"/>
            <a:endCxn id="9" idx="1"/>
          </p:cNvCxnSpPr>
          <p:nvPr/>
        </p:nvCxnSpPr>
        <p:spPr>
          <a:xfrm flipH="1">
            <a:off x="6613630" y="2465007"/>
            <a:ext cx="1067608" cy="435434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38"/>
          <p:cNvCxnSpPr>
            <a:stCxn id="3" idx="2"/>
            <a:endCxn id="11" idx="1"/>
          </p:cNvCxnSpPr>
          <p:nvPr/>
        </p:nvCxnSpPr>
        <p:spPr>
          <a:xfrm>
            <a:off x="7681238" y="2465007"/>
            <a:ext cx="3202827" cy="442629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39"/>
          <p:cNvCxnSpPr>
            <a:stCxn id="4" idx="2"/>
            <a:endCxn id="6" idx="0"/>
          </p:cNvCxnSpPr>
          <p:nvPr/>
        </p:nvCxnSpPr>
        <p:spPr>
          <a:xfrm>
            <a:off x="7681238" y="6117390"/>
            <a:ext cx="0" cy="42189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40"/>
          <p:cNvCxnSpPr>
            <a:stCxn id="14" idx="2"/>
            <a:endCxn id="4" idx="0"/>
          </p:cNvCxnSpPr>
          <p:nvPr/>
        </p:nvCxnSpPr>
        <p:spPr>
          <a:xfrm flipH="1">
            <a:off x="7681238" y="5361358"/>
            <a:ext cx="3812887" cy="41683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141"/>
          <p:cNvCxnSpPr>
            <a:stCxn id="12" idx="2"/>
            <a:endCxn id="4" idx="0"/>
          </p:cNvCxnSpPr>
          <p:nvPr/>
        </p:nvCxnSpPr>
        <p:spPr>
          <a:xfrm>
            <a:off x="5393504" y="5361358"/>
            <a:ext cx="2287734" cy="41683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142"/>
          <p:cNvCxnSpPr>
            <a:stCxn id="13" idx="2"/>
            <a:endCxn id="4" idx="0"/>
          </p:cNvCxnSpPr>
          <p:nvPr/>
        </p:nvCxnSpPr>
        <p:spPr>
          <a:xfrm>
            <a:off x="6918659" y="5361358"/>
            <a:ext cx="762579" cy="41683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143"/>
          <p:cNvCxnSpPr>
            <a:stCxn id="8" idx="2"/>
            <a:endCxn id="4" idx="0"/>
          </p:cNvCxnSpPr>
          <p:nvPr/>
        </p:nvCxnSpPr>
        <p:spPr>
          <a:xfrm>
            <a:off x="3868349" y="5361358"/>
            <a:ext cx="3812889" cy="41683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144"/>
          <p:cNvCxnSpPr>
            <a:stCxn id="7" idx="3"/>
            <a:endCxn id="8" idx="0"/>
          </p:cNvCxnSpPr>
          <p:nvPr/>
        </p:nvCxnSpPr>
        <p:spPr>
          <a:xfrm flipH="1">
            <a:off x="3868349" y="3586039"/>
            <a:ext cx="610063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145"/>
          <p:cNvCxnSpPr>
            <a:stCxn id="7" idx="3"/>
            <a:endCxn id="13" idx="0"/>
          </p:cNvCxnSpPr>
          <p:nvPr/>
        </p:nvCxnSpPr>
        <p:spPr>
          <a:xfrm>
            <a:off x="4478412" y="3586039"/>
            <a:ext cx="2440248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46"/>
          <p:cNvCxnSpPr>
            <a:stCxn id="7" idx="3"/>
            <a:endCxn id="12" idx="0"/>
          </p:cNvCxnSpPr>
          <p:nvPr/>
        </p:nvCxnSpPr>
        <p:spPr>
          <a:xfrm>
            <a:off x="4478412" y="3586039"/>
            <a:ext cx="915093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147"/>
          <p:cNvCxnSpPr>
            <a:stCxn id="7" idx="3"/>
            <a:endCxn id="14" idx="0"/>
          </p:cNvCxnSpPr>
          <p:nvPr/>
        </p:nvCxnSpPr>
        <p:spPr>
          <a:xfrm>
            <a:off x="4478412" y="3586039"/>
            <a:ext cx="7015714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148"/>
          <p:cNvCxnSpPr>
            <a:stCxn id="9" idx="3"/>
            <a:endCxn id="14" idx="0"/>
          </p:cNvCxnSpPr>
          <p:nvPr/>
        </p:nvCxnSpPr>
        <p:spPr>
          <a:xfrm>
            <a:off x="6613629" y="3578844"/>
            <a:ext cx="4880496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149"/>
          <p:cNvCxnSpPr>
            <a:stCxn id="9" idx="3"/>
            <a:endCxn id="12" idx="0"/>
          </p:cNvCxnSpPr>
          <p:nvPr/>
        </p:nvCxnSpPr>
        <p:spPr>
          <a:xfrm flipH="1">
            <a:off x="5393504" y="3578844"/>
            <a:ext cx="1220125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150"/>
          <p:cNvCxnSpPr>
            <a:stCxn id="9" idx="3"/>
            <a:endCxn id="13" idx="0"/>
          </p:cNvCxnSpPr>
          <p:nvPr/>
        </p:nvCxnSpPr>
        <p:spPr>
          <a:xfrm>
            <a:off x="6613629" y="3578844"/>
            <a:ext cx="305030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151"/>
          <p:cNvCxnSpPr>
            <a:stCxn id="9" idx="3"/>
            <a:endCxn id="8" idx="0"/>
          </p:cNvCxnSpPr>
          <p:nvPr/>
        </p:nvCxnSpPr>
        <p:spPr>
          <a:xfrm flipH="1">
            <a:off x="3868349" y="3578844"/>
            <a:ext cx="2745281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152"/>
          <p:cNvCxnSpPr>
            <a:stCxn id="10" idx="3"/>
            <a:endCxn id="8" idx="0"/>
          </p:cNvCxnSpPr>
          <p:nvPr/>
        </p:nvCxnSpPr>
        <p:spPr>
          <a:xfrm flipH="1">
            <a:off x="3868349" y="3578844"/>
            <a:ext cx="4880499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153"/>
          <p:cNvCxnSpPr>
            <a:stCxn id="10" idx="3"/>
            <a:endCxn id="12" idx="0"/>
          </p:cNvCxnSpPr>
          <p:nvPr/>
        </p:nvCxnSpPr>
        <p:spPr>
          <a:xfrm flipH="1">
            <a:off x="5393505" y="3578844"/>
            <a:ext cx="3355343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154"/>
          <p:cNvCxnSpPr>
            <a:stCxn id="10" idx="3"/>
            <a:endCxn id="13" idx="0"/>
          </p:cNvCxnSpPr>
          <p:nvPr/>
        </p:nvCxnSpPr>
        <p:spPr>
          <a:xfrm flipH="1">
            <a:off x="6918660" y="3578844"/>
            <a:ext cx="1830188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155"/>
          <p:cNvCxnSpPr>
            <a:stCxn id="10" idx="3"/>
            <a:endCxn id="14" idx="0"/>
          </p:cNvCxnSpPr>
          <p:nvPr/>
        </p:nvCxnSpPr>
        <p:spPr>
          <a:xfrm>
            <a:off x="8748848" y="3578844"/>
            <a:ext cx="2745278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156"/>
          <p:cNvCxnSpPr>
            <a:endCxn id="8" idx="0"/>
          </p:cNvCxnSpPr>
          <p:nvPr/>
        </p:nvCxnSpPr>
        <p:spPr>
          <a:xfrm flipH="1">
            <a:off x="3868349" y="3586039"/>
            <a:ext cx="7119377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157"/>
          <p:cNvCxnSpPr>
            <a:stCxn id="11" idx="3"/>
            <a:endCxn id="13" idx="0"/>
          </p:cNvCxnSpPr>
          <p:nvPr/>
        </p:nvCxnSpPr>
        <p:spPr>
          <a:xfrm flipH="1">
            <a:off x="6918659" y="3586039"/>
            <a:ext cx="3965406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158"/>
          <p:cNvCxnSpPr>
            <a:stCxn id="11" idx="3"/>
            <a:endCxn id="12" idx="0"/>
          </p:cNvCxnSpPr>
          <p:nvPr/>
        </p:nvCxnSpPr>
        <p:spPr>
          <a:xfrm flipH="1">
            <a:off x="5393504" y="3586039"/>
            <a:ext cx="5490561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159"/>
          <p:cNvCxnSpPr>
            <a:stCxn id="11" idx="3"/>
            <a:endCxn id="14" idx="0"/>
          </p:cNvCxnSpPr>
          <p:nvPr/>
        </p:nvCxnSpPr>
        <p:spPr>
          <a:xfrm>
            <a:off x="10884065" y="3586039"/>
            <a:ext cx="610060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lowchart: Process 90"/>
          <p:cNvSpPr/>
          <p:nvPr/>
        </p:nvSpPr>
        <p:spPr>
          <a:xfrm>
            <a:off x="7768788" y="4936091"/>
            <a:ext cx="1350054" cy="425268"/>
          </a:xfrm>
          <a:prstGeom prst="flowChartProcess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Reducer 4</a:t>
            </a:r>
          </a:p>
        </p:txBody>
      </p:sp>
      <p:sp>
        <p:nvSpPr>
          <p:cNvPr id="42" name="Flowchart: Process 91"/>
          <p:cNvSpPr/>
          <p:nvPr/>
        </p:nvSpPr>
        <p:spPr>
          <a:xfrm>
            <a:off x="9293943" y="4936091"/>
            <a:ext cx="1350054" cy="425268"/>
          </a:xfrm>
          <a:prstGeom prst="flowChartProcess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32" dirty="0"/>
              <a:t>Reducer 5</a:t>
            </a:r>
          </a:p>
        </p:txBody>
      </p:sp>
      <p:cxnSp>
        <p:nvCxnSpPr>
          <p:cNvPr id="43" name="Straight Arrow Connector 92"/>
          <p:cNvCxnSpPr>
            <a:stCxn id="7" idx="3"/>
            <a:endCxn id="41" idx="0"/>
          </p:cNvCxnSpPr>
          <p:nvPr/>
        </p:nvCxnSpPr>
        <p:spPr>
          <a:xfrm>
            <a:off x="4478412" y="3586039"/>
            <a:ext cx="3965403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93"/>
          <p:cNvCxnSpPr>
            <a:stCxn id="7" idx="3"/>
            <a:endCxn id="42" idx="0"/>
          </p:cNvCxnSpPr>
          <p:nvPr/>
        </p:nvCxnSpPr>
        <p:spPr>
          <a:xfrm>
            <a:off x="4478412" y="3586039"/>
            <a:ext cx="5490558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94"/>
          <p:cNvCxnSpPr>
            <a:stCxn id="9" idx="3"/>
            <a:endCxn id="41" idx="0"/>
          </p:cNvCxnSpPr>
          <p:nvPr/>
        </p:nvCxnSpPr>
        <p:spPr>
          <a:xfrm>
            <a:off x="6613630" y="3578844"/>
            <a:ext cx="1830185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95"/>
          <p:cNvCxnSpPr>
            <a:stCxn id="9" idx="3"/>
            <a:endCxn id="42" idx="0"/>
          </p:cNvCxnSpPr>
          <p:nvPr/>
        </p:nvCxnSpPr>
        <p:spPr>
          <a:xfrm>
            <a:off x="6613630" y="3578844"/>
            <a:ext cx="3355340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96"/>
          <p:cNvCxnSpPr>
            <a:stCxn id="10" idx="3"/>
            <a:endCxn id="41" idx="0"/>
          </p:cNvCxnSpPr>
          <p:nvPr/>
        </p:nvCxnSpPr>
        <p:spPr>
          <a:xfrm flipH="1">
            <a:off x="8443815" y="3578844"/>
            <a:ext cx="305033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97"/>
          <p:cNvCxnSpPr>
            <a:stCxn id="10" idx="3"/>
            <a:endCxn id="42" idx="0"/>
          </p:cNvCxnSpPr>
          <p:nvPr/>
        </p:nvCxnSpPr>
        <p:spPr>
          <a:xfrm>
            <a:off x="8748848" y="3578844"/>
            <a:ext cx="1220122" cy="1357247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98"/>
          <p:cNvCxnSpPr>
            <a:endCxn id="42" idx="0"/>
          </p:cNvCxnSpPr>
          <p:nvPr/>
        </p:nvCxnSpPr>
        <p:spPr>
          <a:xfrm flipH="1">
            <a:off x="9968970" y="3586039"/>
            <a:ext cx="915096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99"/>
          <p:cNvCxnSpPr>
            <a:stCxn id="11" idx="3"/>
            <a:endCxn id="41" idx="0"/>
          </p:cNvCxnSpPr>
          <p:nvPr/>
        </p:nvCxnSpPr>
        <p:spPr>
          <a:xfrm flipH="1">
            <a:off x="8443815" y="3586039"/>
            <a:ext cx="2440251" cy="1350052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117"/>
          <p:cNvCxnSpPr>
            <a:stCxn id="41" idx="2"/>
            <a:endCxn id="4" idx="0"/>
          </p:cNvCxnSpPr>
          <p:nvPr/>
        </p:nvCxnSpPr>
        <p:spPr>
          <a:xfrm flipH="1">
            <a:off x="7681238" y="5361358"/>
            <a:ext cx="762577" cy="41683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118"/>
          <p:cNvCxnSpPr>
            <a:stCxn id="42" idx="2"/>
            <a:endCxn id="4" idx="0"/>
          </p:cNvCxnSpPr>
          <p:nvPr/>
        </p:nvCxnSpPr>
        <p:spPr>
          <a:xfrm flipH="1">
            <a:off x="7681238" y="5361358"/>
            <a:ext cx="2287732" cy="416830"/>
          </a:xfrm>
          <a:prstGeom prst="straightConnector1">
            <a:avLst/>
          </a:prstGeom>
          <a:ln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Table 59"/>
          <p:cNvGraphicFramePr>
            <a:graphicFrameLocks noGrp="1"/>
          </p:cNvGraphicFramePr>
          <p:nvPr>
            <p:extLst/>
          </p:nvPr>
        </p:nvGraphicFramePr>
        <p:xfrm>
          <a:off x="6497012" y="2121041"/>
          <a:ext cx="2348087" cy="40412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922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04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5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Keywor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ontent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RegionId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Complain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Service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Warranty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Service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Warranty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Lawsuit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Complain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Tax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4128">
                <a:tc>
                  <a:txBody>
                    <a:bodyPr/>
                    <a:lstStyle/>
                    <a:p>
                      <a:r>
                        <a:rPr lang="en-US" sz="1000" dirty="0"/>
                        <a:t>Support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4" name="Rectangle 2"/>
          <p:cNvSpPr/>
          <p:nvPr/>
        </p:nvSpPr>
        <p:spPr bwMode="auto">
          <a:xfrm>
            <a:off x="3181247" y="5564260"/>
            <a:ext cx="8982956" cy="825500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urier New" panose="02070309020205020404" pitchFamily="49" charset="0"/>
                <a:cs typeface="Courier New" panose="02070309020205020404" pitchFamily="49" charset="0"/>
              </a:rPr>
              <a:t>SELECT Keyword, SUM(Occurrence) FROM Messages 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urier New" panose="02070309020205020404" pitchFamily="49" charset="0"/>
                <a:cs typeface="Courier New" panose="02070309020205020404" pitchFamily="49" charset="0"/>
              </a:rPr>
              <a:t>CROSS APPLY KeyWordCount() WHERE &lt;Predicate&gt; GROUP BY Keyword</a:t>
            </a:r>
          </a:p>
        </p:txBody>
      </p:sp>
      <p:sp>
        <p:nvSpPr>
          <p:cNvPr id="58" name="Title 2"/>
          <p:cNvSpPr txBox="1">
            <a:spLocks/>
          </p:cNvSpPr>
          <p:nvPr/>
        </p:nvSpPr>
        <p:spPr bwMode="ltGray">
          <a:xfrm>
            <a:off x="274640" y="1570636"/>
            <a:ext cx="2766168" cy="4898441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rgbClr val="0072C6"/>
          </a:solidFill>
          <a:ln>
            <a:noFill/>
          </a:ln>
          <a:extLst/>
        </p:spPr>
        <p:txBody>
          <a:bodyPr vert="horz" wrap="square" lIns="326473" tIns="886140" rIns="274320" bIns="88614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cap="none" spc="-204" baseline="0" dirty="0">
                <a:ln w="3175">
                  <a:noFill/>
                </a:ln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클라이언트 </a:t>
            </a:r>
            <a:r>
              <a:rPr kumimoji="0" lang="ko-KR" altLang="en-US" sz="2400" b="0" i="0" u="none" strike="noStrike" kern="0" cap="none" spc="0" normalizeH="0" baseline="0" noProof="0" err="1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앱이</a:t>
            </a: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 작업을 생성</a:t>
            </a:r>
            <a:endParaRPr kumimoji="0" lang="en-US" altLang="ko-KR" sz="24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작업은 작업 관리자에서 스케줄링 됨</a:t>
            </a:r>
            <a:endParaRPr kumimoji="0" lang="en-US" altLang="ko-KR" sz="24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작업은 예약된 시간에 전달 됨</a:t>
            </a:r>
            <a:endParaRPr kumimoji="0" lang="en-US" altLang="ko-KR" sz="24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476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7" presetClass="emph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4F81BD"/>
                                      </p:to>
                                    </p:animClr>
                                    <p:set>
                                      <p:cBhvr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3" presetClass="emph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5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Execution: Map</a:t>
            </a:r>
            <a:endParaRPr lang="ko-KR" altLang="en-US" dirty="0"/>
          </a:p>
        </p:txBody>
      </p:sp>
      <p:sp>
        <p:nvSpPr>
          <p:cNvPr id="63" name="Flowchart: Magnetic Disk 11"/>
          <p:cNvSpPr/>
          <p:nvPr/>
        </p:nvSpPr>
        <p:spPr>
          <a:xfrm>
            <a:off x="3803385" y="2907635"/>
            <a:ext cx="1350054" cy="678403"/>
          </a:xfrm>
          <a:prstGeom prst="flowChartMagneticDisk">
            <a:avLst/>
          </a:prstGeom>
          <a:solidFill>
            <a:srgbClr val="DC3C00"/>
          </a:solidFill>
          <a:ln w="10795" cap="flat" cmpd="sng" algn="ctr">
            <a:solidFill>
              <a:srgbClr val="008272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1</a:t>
            </a:r>
          </a:p>
        </p:txBody>
      </p:sp>
      <p:sp>
        <p:nvSpPr>
          <p:cNvPr id="64" name="Flowchart: Magnetic Disk 57"/>
          <p:cNvSpPr/>
          <p:nvPr/>
        </p:nvSpPr>
        <p:spPr>
          <a:xfrm>
            <a:off x="3795391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mber 1</a:t>
            </a:r>
          </a:p>
        </p:txBody>
      </p:sp>
      <p:sp>
        <p:nvSpPr>
          <p:cNvPr id="65" name="Flowchart: Process 26"/>
          <p:cNvSpPr/>
          <p:nvPr/>
        </p:nvSpPr>
        <p:spPr>
          <a:xfrm>
            <a:off x="6584319" y="5778188"/>
            <a:ext cx="2193838" cy="339202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Summary</a:t>
            </a:r>
          </a:p>
        </p:txBody>
      </p:sp>
      <p:cxnSp>
        <p:nvCxnSpPr>
          <p:cNvPr id="66" name="Straight Arrow Connector 88"/>
          <p:cNvCxnSpPr>
            <a:stCxn id="63" idx="3"/>
            <a:endCxn id="115" idx="0"/>
          </p:cNvCxnSpPr>
          <p:nvPr/>
        </p:nvCxnSpPr>
        <p:spPr>
          <a:xfrm>
            <a:off x="4478412" y="3586039"/>
            <a:ext cx="5490558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67" name="Straight Arrow Connector 89"/>
          <p:cNvCxnSpPr>
            <a:stCxn id="78" idx="3"/>
            <a:endCxn id="114" idx="0"/>
          </p:cNvCxnSpPr>
          <p:nvPr/>
        </p:nvCxnSpPr>
        <p:spPr>
          <a:xfrm>
            <a:off x="6613630" y="3586039"/>
            <a:ext cx="1830185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68" name="Straight Arrow Connector 90"/>
          <p:cNvCxnSpPr>
            <a:stCxn id="80" idx="3"/>
            <a:endCxn id="115" idx="0"/>
          </p:cNvCxnSpPr>
          <p:nvPr/>
        </p:nvCxnSpPr>
        <p:spPr>
          <a:xfrm flipH="1">
            <a:off x="9968970" y="3586039"/>
            <a:ext cx="915096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69" name="Straight Arrow Connector 91"/>
          <p:cNvCxnSpPr>
            <a:stCxn id="63" idx="3"/>
            <a:endCxn id="114" idx="0"/>
          </p:cNvCxnSpPr>
          <p:nvPr/>
        </p:nvCxnSpPr>
        <p:spPr>
          <a:xfrm>
            <a:off x="4478412" y="3586039"/>
            <a:ext cx="3965403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0" name="Straight Arrow Connector 112"/>
          <p:cNvCxnSpPr>
            <a:stCxn id="80" idx="3"/>
            <a:endCxn id="114" idx="0"/>
          </p:cNvCxnSpPr>
          <p:nvPr/>
        </p:nvCxnSpPr>
        <p:spPr>
          <a:xfrm flipH="1">
            <a:off x="8443815" y="3586039"/>
            <a:ext cx="2440251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1" name="Straight Arrow Connector 120"/>
          <p:cNvCxnSpPr>
            <a:stCxn id="79" idx="3"/>
            <a:endCxn id="114" idx="0"/>
          </p:cNvCxnSpPr>
          <p:nvPr/>
        </p:nvCxnSpPr>
        <p:spPr>
          <a:xfrm flipH="1">
            <a:off x="8443815" y="3578844"/>
            <a:ext cx="305033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2" name="Straight Arrow Connector 123"/>
          <p:cNvCxnSpPr>
            <a:stCxn id="79" idx="3"/>
            <a:endCxn id="115" idx="0"/>
          </p:cNvCxnSpPr>
          <p:nvPr/>
        </p:nvCxnSpPr>
        <p:spPr>
          <a:xfrm>
            <a:off x="8748848" y="3578844"/>
            <a:ext cx="1220122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3" name="Straight Arrow Connector 126"/>
          <p:cNvCxnSpPr>
            <a:stCxn id="78" idx="3"/>
            <a:endCxn id="115" idx="0"/>
          </p:cNvCxnSpPr>
          <p:nvPr/>
        </p:nvCxnSpPr>
        <p:spPr>
          <a:xfrm>
            <a:off x="6613630" y="3586039"/>
            <a:ext cx="3355340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sp>
        <p:nvSpPr>
          <p:cNvPr id="74" name="Flowchart: Terminator 8"/>
          <p:cNvSpPr/>
          <p:nvPr/>
        </p:nvSpPr>
        <p:spPr>
          <a:xfrm>
            <a:off x="7174968" y="1307820"/>
            <a:ext cx="1012541" cy="334138"/>
          </a:xfrm>
          <a:prstGeom prst="flowChartTerminator">
            <a:avLst/>
          </a:prstGeom>
          <a:solidFill>
            <a:srgbClr val="505050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PUT</a:t>
            </a:r>
          </a:p>
        </p:txBody>
      </p:sp>
      <p:sp>
        <p:nvSpPr>
          <p:cNvPr id="75" name="Flowchart: Terminator 10"/>
          <p:cNvSpPr/>
          <p:nvPr/>
        </p:nvSpPr>
        <p:spPr>
          <a:xfrm>
            <a:off x="6927353" y="6539282"/>
            <a:ext cx="1507771" cy="334138"/>
          </a:xfrm>
          <a:prstGeom prst="flowChartTerminator">
            <a:avLst/>
          </a:prstGeom>
          <a:solidFill>
            <a:srgbClr val="505050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UTPUT</a:t>
            </a:r>
          </a:p>
        </p:txBody>
      </p:sp>
      <p:sp>
        <p:nvSpPr>
          <p:cNvPr id="76" name="Flowchart: Process 9"/>
          <p:cNvSpPr/>
          <p:nvPr/>
        </p:nvSpPr>
        <p:spPr>
          <a:xfrm>
            <a:off x="6584319" y="2125805"/>
            <a:ext cx="2193838" cy="339202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-Execution</a:t>
            </a:r>
          </a:p>
        </p:txBody>
      </p:sp>
      <p:sp>
        <p:nvSpPr>
          <p:cNvPr id="77" name="Flowchart: Process 13"/>
          <p:cNvSpPr/>
          <p:nvPr/>
        </p:nvSpPr>
        <p:spPr>
          <a:xfrm>
            <a:off x="3193322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1</a:t>
            </a:r>
          </a:p>
        </p:txBody>
      </p:sp>
      <p:sp>
        <p:nvSpPr>
          <p:cNvPr id="78" name="Flowchart: Magnetic Disk 19"/>
          <p:cNvSpPr/>
          <p:nvPr/>
        </p:nvSpPr>
        <p:spPr>
          <a:xfrm>
            <a:off x="5938603" y="2907635"/>
            <a:ext cx="1350054" cy="678403"/>
          </a:xfrm>
          <a:prstGeom prst="flowChartMagneticDisk">
            <a:avLst/>
          </a:prstGeom>
          <a:solidFill>
            <a:srgbClr val="008272"/>
          </a:solidFill>
          <a:ln w="10795" cap="flat" cmpd="sng" algn="ctr">
            <a:solidFill>
              <a:srgbClr val="008272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2</a:t>
            </a:r>
          </a:p>
        </p:txBody>
      </p:sp>
      <p:sp>
        <p:nvSpPr>
          <p:cNvPr id="79" name="Flowchart: Magnetic Disk 20"/>
          <p:cNvSpPr/>
          <p:nvPr/>
        </p:nvSpPr>
        <p:spPr>
          <a:xfrm>
            <a:off x="8073821" y="2900441"/>
            <a:ext cx="1350054" cy="678403"/>
          </a:xfrm>
          <a:prstGeom prst="flowChartMagneticDisk">
            <a:avLst/>
          </a:prstGeom>
          <a:solidFill>
            <a:srgbClr val="008272"/>
          </a:solidFill>
          <a:ln w="10795" cap="flat" cmpd="sng" algn="ctr">
            <a:solidFill>
              <a:srgbClr val="008272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3</a:t>
            </a:r>
          </a:p>
        </p:txBody>
      </p:sp>
      <p:sp>
        <p:nvSpPr>
          <p:cNvPr id="80" name="Flowchart: Magnetic Disk 21"/>
          <p:cNvSpPr/>
          <p:nvPr/>
        </p:nvSpPr>
        <p:spPr>
          <a:xfrm>
            <a:off x="10209038" y="2907635"/>
            <a:ext cx="1350054" cy="678403"/>
          </a:xfrm>
          <a:prstGeom prst="flowChartMagneticDisk">
            <a:avLst/>
          </a:prstGeom>
          <a:solidFill>
            <a:srgbClr val="008272"/>
          </a:solidFill>
          <a:ln w="10795" cap="flat" cmpd="sng" algn="ctr">
            <a:solidFill>
              <a:srgbClr val="008272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N</a:t>
            </a:r>
          </a:p>
        </p:txBody>
      </p:sp>
      <p:sp>
        <p:nvSpPr>
          <p:cNvPr id="81" name="Flowchart: Magnetic Disk 58"/>
          <p:cNvSpPr/>
          <p:nvPr/>
        </p:nvSpPr>
        <p:spPr>
          <a:xfrm>
            <a:off x="5930609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mber 2</a:t>
            </a:r>
          </a:p>
        </p:txBody>
      </p:sp>
      <p:sp>
        <p:nvSpPr>
          <p:cNvPr id="82" name="Flowchart: Magnetic Disk 59"/>
          <p:cNvSpPr/>
          <p:nvPr/>
        </p:nvSpPr>
        <p:spPr>
          <a:xfrm>
            <a:off x="8065826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mber 3</a:t>
            </a:r>
          </a:p>
        </p:txBody>
      </p:sp>
      <p:sp>
        <p:nvSpPr>
          <p:cNvPr id="83" name="Flowchart: Magnetic Disk 60"/>
          <p:cNvSpPr/>
          <p:nvPr/>
        </p:nvSpPr>
        <p:spPr>
          <a:xfrm>
            <a:off x="10201044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mber N</a:t>
            </a:r>
          </a:p>
        </p:txBody>
      </p:sp>
      <p:sp>
        <p:nvSpPr>
          <p:cNvPr id="84" name="Flowchart: Process 23"/>
          <p:cNvSpPr/>
          <p:nvPr/>
        </p:nvSpPr>
        <p:spPr>
          <a:xfrm>
            <a:off x="4718477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2</a:t>
            </a:r>
          </a:p>
        </p:txBody>
      </p:sp>
      <p:sp>
        <p:nvSpPr>
          <p:cNvPr id="85" name="Flowchart: Process 24"/>
          <p:cNvSpPr/>
          <p:nvPr/>
        </p:nvSpPr>
        <p:spPr>
          <a:xfrm>
            <a:off x="6243632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3</a:t>
            </a:r>
          </a:p>
        </p:txBody>
      </p:sp>
      <p:sp>
        <p:nvSpPr>
          <p:cNvPr id="86" name="Flowchart: Process 25"/>
          <p:cNvSpPr/>
          <p:nvPr/>
        </p:nvSpPr>
        <p:spPr>
          <a:xfrm>
            <a:off x="10819098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m</a:t>
            </a:r>
          </a:p>
        </p:txBody>
      </p:sp>
      <p:cxnSp>
        <p:nvCxnSpPr>
          <p:cNvPr id="87" name="Straight Arrow Connector 27"/>
          <p:cNvCxnSpPr>
            <a:stCxn id="74" idx="2"/>
            <a:endCxn id="76" idx="0"/>
          </p:cNvCxnSpPr>
          <p:nvPr/>
        </p:nvCxnSpPr>
        <p:spPr>
          <a:xfrm>
            <a:off x="7681238" y="1641958"/>
            <a:ext cx="0" cy="4838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8" name="Straight Arrow Connector 31"/>
          <p:cNvCxnSpPr>
            <a:stCxn id="76" idx="2"/>
            <a:endCxn id="63" idx="1"/>
          </p:cNvCxnSpPr>
          <p:nvPr/>
        </p:nvCxnSpPr>
        <p:spPr>
          <a:xfrm flipH="1">
            <a:off x="4478412" y="2465007"/>
            <a:ext cx="3202826" cy="442629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9" name="Straight Arrow Connector 32"/>
          <p:cNvCxnSpPr>
            <a:stCxn id="76" idx="2"/>
            <a:endCxn id="79" idx="1"/>
          </p:cNvCxnSpPr>
          <p:nvPr/>
        </p:nvCxnSpPr>
        <p:spPr>
          <a:xfrm>
            <a:off x="7681239" y="2465007"/>
            <a:ext cx="1067609" cy="435434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0" name="Straight Arrow Connector 33"/>
          <p:cNvCxnSpPr>
            <a:stCxn id="76" idx="2"/>
            <a:endCxn id="78" idx="1"/>
          </p:cNvCxnSpPr>
          <p:nvPr/>
        </p:nvCxnSpPr>
        <p:spPr>
          <a:xfrm flipH="1">
            <a:off x="6613630" y="2465007"/>
            <a:ext cx="1067608" cy="442629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1" name="Straight Arrow Connector 34"/>
          <p:cNvCxnSpPr>
            <a:stCxn id="76" idx="2"/>
            <a:endCxn id="80" idx="1"/>
          </p:cNvCxnSpPr>
          <p:nvPr/>
        </p:nvCxnSpPr>
        <p:spPr>
          <a:xfrm>
            <a:off x="7681238" y="2465007"/>
            <a:ext cx="3202827" cy="442629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2" name="Straight Arrow Connector 35"/>
          <p:cNvCxnSpPr>
            <a:stCxn id="65" idx="2"/>
            <a:endCxn id="75" idx="0"/>
          </p:cNvCxnSpPr>
          <p:nvPr/>
        </p:nvCxnSpPr>
        <p:spPr>
          <a:xfrm>
            <a:off x="7681238" y="6117390"/>
            <a:ext cx="0" cy="42189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3" name="Straight Arrow Connector 79"/>
          <p:cNvCxnSpPr>
            <a:stCxn id="86" idx="2"/>
            <a:endCxn id="65" idx="0"/>
          </p:cNvCxnSpPr>
          <p:nvPr/>
        </p:nvCxnSpPr>
        <p:spPr>
          <a:xfrm flipH="1">
            <a:off x="7681238" y="5361358"/>
            <a:ext cx="3812887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4" name="Straight Arrow Connector 80"/>
          <p:cNvCxnSpPr>
            <a:stCxn id="84" idx="2"/>
            <a:endCxn id="65" idx="0"/>
          </p:cNvCxnSpPr>
          <p:nvPr/>
        </p:nvCxnSpPr>
        <p:spPr>
          <a:xfrm>
            <a:off x="5393504" y="5361358"/>
            <a:ext cx="2287734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5" name="Straight Arrow Connector 81"/>
          <p:cNvCxnSpPr>
            <a:stCxn id="85" idx="2"/>
            <a:endCxn id="65" idx="0"/>
          </p:cNvCxnSpPr>
          <p:nvPr/>
        </p:nvCxnSpPr>
        <p:spPr>
          <a:xfrm>
            <a:off x="6918659" y="5361358"/>
            <a:ext cx="762579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6" name="Straight Arrow Connector 82"/>
          <p:cNvCxnSpPr>
            <a:stCxn id="77" idx="2"/>
            <a:endCxn id="65" idx="0"/>
          </p:cNvCxnSpPr>
          <p:nvPr/>
        </p:nvCxnSpPr>
        <p:spPr>
          <a:xfrm>
            <a:off x="3868349" y="5361358"/>
            <a:ext cx="3812889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7" name="Straight Arrow Connector 96"/>
          <p:cNvCxnSpPr>
            <a:stCxn id="63" idx="3"/>
            <a:endCxn id="77" idx="0"/>
          </p:cNvCxnSpPr>
          <p:nvPr/>
        </p:nvCxnSpPr>
        <p:spPr>
          <a:xfrm flipH="1">
            <a:off x="3868349" y="3586039"/>
            <a:ext cx="610063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8" name="Straight Arrow Connector 97"/>
          <p:cNvCxnSpPr>
            <a:stCxn id="63" idx="3"/>
            <a:endCxn id="85" idx="0"/>
          </p:cNvCxnSpPr>
          <p:nvPr/>
        </p:nvCxnSpPr>
        <p:spPr>
          <a:xfrm>
            <a:off x="4478412" y="3586039"/>
            <a:ext cx="2440248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9" name="Straight Arrow Connector 98"/>
          <p:cNvCxnSpPr>
            <a:stCxn id="63" idx="3"/>
            <a:endCxn id="84" idx="0"/>
          </p:cNvCxnSpPr>
          <p:nvPr/>
        </p:nvCxnSpPr>
        <p:spPr>
          <a:xfrm>
            <a:off x="4478412" y="3586039"/>
            <a:ext cx="915093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0" name="Straight Arrow Connector 99"/>
          <p:cNvCxnSpPr>
            <a:stCxn id="63" idx="3"/>
            <a:endCxn id="86" idx="0"/>
          </p:cNvCxnSpPr>
          <p:nvPr/>
        </p:nvCxnSpPr>
        <p:spPr>
          <a:xfrm>
            <a:off x="4478412" y="3586039"/>
            <a:ext cx="7015714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1" name="Straight Arrow Connector 100"/>
          <p:cNvCxnSpPr>
            <a:stCxn id="78" idx="3"/>
            <a:endCxn id="86" idx="0"/>
          </p:cNvCxnSpPr>
          <p:nvPr/>
        </p:nvCxnSpPr>
        <p:spPr>
          <a:xfrm>
            <a:off x="6613629" y="3586039"/>
            <a:ext cx="4880496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2" name="Straight Arrow Connector 101"/>
          <p:cNvCxnSpPr>
            <a:stCxn id="78" idx="3"/>
            <a:endCxn id="84" idx="0"/>
          </p:cNvCxnSpPr>
          <p:nvPr/>
        </p:nvCxnSpPr>
        <p:spPr>
          <a:xfrm flipH="1">
            <a:off x="5393504" y="3586039"/>
            <a:ext cx="1220125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3" name="Straight Arrow Connector 102"/>
          <p:cNvCxnSpPr>
            <a:stCxn id="78" idx="3"/>
            <a:endCxn id="85" idx="0"/>
          </p:cNvCxnSpPr>
          <p:nvPr/>
        </p:nvCxnSpPr>
        <p:spPr>
          <a:xfrm>
            <a:off x="6613629" y="3586039"/>
            <a:ext cx="305030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4" name="Straight Arrow Connector 103"/>
          <p:cNvCxnSpPr>
            <a:stCxn id="78" idx="3"/>
            <a:endCxn id="77" idx="0"/>
          </p:cNvCxnSpPr>
          <p:nvPr/>
        </p:nvCxnSpPr>
        <p:spPr>
          <a:xfrm flipH="1">
            <a:off x="3868349" y="3586039"/>
            <a:ext cx="2745281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5" name="Straight Arrow Connector 104"/>
          <p:cNvCxnSpPr>
            <a:stCxn id="79" idx="3"/>
            <a:endCxn id="77" idx="0"/>
          </p:cNvCxnSpPr>
          <p:nvPr/>
        </p:nvCxnSpPr>
        <p:spPr>
          <a:xfrm flipH="1">
            <a:off x="3868349" y="3578844"/>
            <a:ext cx="4880499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6" name="Straight Arrow Connector 105"/>
          <p:cNvCxnSpPr>
            <a:stCxn id="79" idx="3"/>
            <a:endCxn id="84" idx="0"/>
          </p:cNvCxnSpPr>
          <p:nvPr/>
        </p:nvCxnSpPr>
        <p:spPr>
          <a:xfrm flipH="1">
            <a:off x="5393505" y="3578844"/>
            <a:ext cx="3355343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7" name="Straight Arrow Connector 106"/>
          <p:cNvCxnSpPr>
            <a:stCxn id="79" idx="3"/>
            <a:endCxn id="85" idx="0"/>
          </p:cNvCxnSpPr>
          <p:nvPr/>
        </p:nvCxnSpPr>
        <p:spPr>
          <a:xfrm flipH="1">
            <a:off x="6918660" y="3578844"/>
            <a:ext cx="1830188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8" name="Straight Arrow Connector 107"/>
          <p:cNvCxnSpPr>
            <a:stCxn id="79" idx="3"/>
            <a:endCxn id="86" idx="0"/>
          </p:cNvCxnSpPr>
          <p:nvPr/>
        </p:nvCxnSpPr>
        <p:spPr>
          <a:xfrm>
            <a:off x="8748848" y="3578844"/>
            <a:ext cx="2745278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9" name="Straight Arrow Connector 108"/>
          <p:cNvCxnSpPr>
            <a:stCxn id="80" idx="3"/>
            <a:endCxn id="77" idx="0"/>
          </p:cNvCxnSpPr>
          <p:nvPr/>
        </p:nvCxnSpPr>
        <p:spPr>
          <a:xfrm flipH="1">
            <a:off x="3868349" y="3586039"/>
            <a:ext cx="7015717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0" name="Straight Arrow Connector 109"/>
          <p:cNvCxnSpPr>
            <a:stCxn id="80" idx="3"/>
            <a:endCxn id="85" idx="0"/>
          </p:cNvCxnSpPr>
          <p:nvPr/>
        </p:nvCxnSpPr>
        <p:spPr>
          <a:xfrm flipH="1">
            <a:off x="6918659" y="3586039"/>
            <a:ext cx="3965406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1" name="Straight Arrow Connector 110"/>
          <p:cNvCxnSpPr>
            <a:stCxn id="80" idx="3"/>
            <a:endCxn id="84" idx="0"/>
          </p:cNvCxnSpPr>
          <p:nvPr/>
        </p:nvCxnSpPr>
        <p:spPr>
          <a:xfrm flipH="1">
            <a:off x="5393504" y="3586039"/>
            <a:ext cx="5490561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2" name="Straight Arrow Connector 111"/>
          <p:cNvCxnSpPr>
            <a:stCxn id="80" idx="3"/>
            <a:endCxn id="86" idx="0"/>
          </p:cNvCxnSpPr>
          <p:nvPr/>
        </p:nvCxnSpPr>
        <p:spPr>
          <a:xfrm>
            <a:off x="10884065" y="3586039"/>
            <a:ext cx="610060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sp>
        <p:nvSpPr>
          <p:cNvPr id="113" name="TextBox 112"/>
          <p:cNvSpPr txBox="1"/>
          <p:nvPr/>
        </p:nvSpPr>
        <p:spPr>
          <a:xfrm>
            <a:off x="4582088" y="7072242"/>
            <a:ext cx="5781973" cy="9585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505050"/>
                </a:solidFill>
                <a:latin typeface="Segoe UI" charset="0"/>
                <a:ea typeface="MS PGothic" charset="0"/>
              </a:rPr>
              <a:t>Map Function: </a:t>
            </a:r>
          </a:p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505050"/>
                </a:solidFill>
                <a:latin typeface="Segoe UI" charset="0"/>
                <a:ea typeface="MS PGothic" charset="0"/>
              </a:rPr>
              <a:t>SELECT Keyword, SUM(Occurrence) FROM Messages </a:t>
            </a:r>
            <a:br>
              <a:rPr lang="en-US" dirty="0">
                <a:solidFill>
                  <a:srgbClr val="505050"/>
                </a:solidFill>
                <a:latin typeface="Segoe UI" charset="0"/>
                <a:ea typeface="MS PGothic" charset="0"/>
              </a:rPr>
            </a:br>
            <a:r>
              <a:rPr lang="en-US" dirty="0">
                <a:solidFill>
                  <a:srgbClr val="505050"/>
                </a:solidFill>
                <a:latin typeface="Segoe UI" charset="0"/>
                <a:ea typeface="MS PGothic" charset="0"/>
              </a:rPr>
              <a:t>CROSS APPLY KeyWordCount() GROUP BY Keyword</a:t>
            </a:r>
          </a:p>
        </p:txBody>
      </p:sp>
      <p:sp>
        <p:nvSpPr>
          <p:cNvPr id="114" name="Flowchart: Process 86"/>
          <p:cNvSpPr/>
          <p:nvPr/>
        </p:nvSpPr>
        <p:spPr>
          <a:xfrm>
            <a:off x="7768788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4</a:t>
            </a:r>
          </a:p>
        </p:txBody>
      </p:sp>
      <p:sp>
        <p:nvSpPr>
          <p:cNvPr id="115" name="Flowchart: Process 87"/>
          <p:cNvSpPr/>
          <p:nvPr/>
        </p:nvSpPr>
        <p:spPr>
          <a:xfrm>
            <a:off x="9293943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5</a:t>
            </a:r>
          </a:p>
        </p:txBody>
      </p:sp>
      <p:cxnSp>
        <p:nvCxnSpPr>
          <p:cNvPr id="116" name="Straight Arrow Connector 129"/>
          <p:cNvCxnSpPr>
            <a:stCxn id="114" idx="2"/>
            <a:endCxn id="65" idx="0"/>
          </p:cNvCxnSpPr>
          <p:nvPr/>
        </p:nvCxnSpPr>
        <p:spPr>
          <a:xfrm flipH="1">
            <a:off x="7681238" y="5361358"/>
            <a:ext cx="762577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7" name="Straight Arrow Connector 130"/>
          <p:cNvCxnSpPr>
            <a:stCxn id="115" idx="2"/>
            <a:endCxn id="65" idx="0"/>
          </p:cNvCxnSpPr>
          <p:nvPr/>
        </p:nvCxnSpPr>
        <p:spPr>
          <a:xfrm flipH="1">
            <a:off x="7681238" y="5361358"/>
            <a:ext cx="2287732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sp>
        <p:nvSpPr>
          <p:cNvPr id="118" name="Title 2"/>
          <p:cNvSpPr txBox="1">
            <a:spLocks/>
          </p:cNvSpPr>
          <p:nvPr/>
        </p:nvSpPr>
        <p:spPr bwMode="ltGray">
          <a:xfrm>
            <a:off x="274640" y="1570636"/>
            <a:ext cx="2766168" cy="4898441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rgbClr val="0072C6"/>
          </a:solidFill>
          <a:ln>
            <a:noFill/>
          </a:ln>
          <a:extLst/>
        </p:spPr>
        <p:txBody>
          <a:bodyPr vert="horz" wrap="square" lIns="326473" tIns="886140" rIns="274320" bIns="88614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cap="none" spc="-204" baseline="0" dirty="0">
                <a:ln w="3175">
                  <a:noFill/>
                </a:ln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작업은</a:t>
            </a:r>
            <a:r>
              <a:rPr kumimoji="0" lang="en-US" altLang="ko-KR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 </a:t>
            </a: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모든 멤버 노드로 분산됨</a:t>
            </a:r>
            <a:endParaRPr kumimoji="0" lang="en-US" altLang="ko-KR" sz="24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각각의 멤버 </a:t>
            </a:r>
            <a:r>
              <a:rPr kumimoji="0" lang="ko-KR" altLang="en-US" sz="2400" b="0" i="0" u="none" strike="noStrike" kern="0" cap="none" spc="0" normalizeH="0" baseline="0" noProof="0" err="1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노드는</a:t>
            </a: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 </a:t>
            </a:r>
            <a:r>
              <a:rPr kumimoji="0" lang="en-US" altLang="ko-KR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Mapper</a:t>
            </a:r>
            <a:r>
              <a:rPr kumimoji="0" lang="ko-KR" altLang="en-US" sz="24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가 됨</a:t>
            </a:r>
            <a:endParaRPr kumimoji="0" lang="en-US" altLang="ko-KR" sz="24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</p:txBody>
      </p:sp>
      <p:graphicFrame>
        <p:nvGraphicFramePr>
          <p:cNvPr id="119" name="Table 51"/>
          <p:cNvGraphicFramePr>
            <a:graphicFrameLocks noGrp="1"/>
          </p:cNvGraphicFramePr>
          <p:nvPr>
            <p:extLst/>
          </p:nvPr>
        </p:nvGraphicFramePr>
        <p:xfrm>
          <a:off x="7725331" y="2742253"/>
          <a:ext cx="2291263" cy="1616512"/>
        </p:xfrm>
        <a:graphic>
          <a:graphicData uri="http://schemas.openxmlformats.org/drawingml/2006/table">
            <a:tbl>
              <a:tblPr firstRow="1" bandRow="1"/>
              <a:tblGrid>
                <a:gridCol w="7719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19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73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932404" rtl="0" eaLnBrk="1" latinLnBrk="0" hangingPunct="1"/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eywor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932404" rtl="0" eaLnBrk="1" latinLnBrk="0" hangingPunct="1"/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nten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marL="0" algn="l" defTabSz="932404" rtl="0" eaLnBrk="1" latinLnBrk="0" hangingPunct="1"/>
                      <a:r>
                        <a:rPr lang="en-US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gionI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Complain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Tax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uppor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20" name="Table 49"/>
          <p:cNvGraphicFramePr>
            <a:graphicFrameLocks noGrp="1"/>
          </p:cNvGraphicFramePr>
          <p:nvPr>
            <p:extLst/>
          </p:nvPr>
        </p:nvGraphicFramePr>
        <p:xfrm>
          <a:off x="3183798" y="2742253"/>
          <a:ext cx="2408623" cy="1616512"/>
        </p:xfrm>
        <a:graphic>
          <a:graphicData uri="http://schemas.openxmlformats.org/drawingml/2006/table">
            <a:tbl>
              <a:tblPr firstRow="1" bandRow="1"/>
              <a:tblGrid>
                <a:gridCol w="7901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33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0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Keywor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Conten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RegionI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Complain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ervi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Warranty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21" name="Table 50"/>
          <p:cNvGraphicFramePr>
            <a:graphicFrameLocks noGrp="1"/>
          </p:cNvGraphicFramePr>
          <p:nvPr>
            <p:extLst/>
          </p:nvPr>
        </p:nvGraphicFramePr>
        <p:xfrm>
          <a:off x="5581256" y="2742253"/>
          <a:ext cx="2144076" cy="1616512"/>
        </p:xfrm>
        <a:graphic>
          <a:graphicData uri="http://schemas.openxmlformats.org/drawingml/2006/table">
            <a:tbl>
              <a:tblPr firstRow="1" bandRow="1"/>
              <a:tblGrid>
                <a:gridCol w="7131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88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Keywor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Conten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RegionI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ervi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Warranty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Lawsui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22" name="Table 3"/>
          <p:cNvGraphicFramePr>
            <a:graphicFrameLocks noGrp="1"/>
          </p:cNvGraphicFramePr>
          <p:nvPr>
            <p:extLst/>
          </p:nvPr>
        </p:nvGraphicFramePr>
        <p:xfrm>
          <a:off x="6497013" y="2121041"/>
          <a:ext cx="2350008" cy="4041280"/>
        </p:xfrm>
        <a:graphic>
          <a:graphicData uri="http://schemas.openxmlformats.org/drawingml/2006/table">
            <a:tbl>
              <a:tblPr firstRow="1" bandRow="1"/>
              <a:tblGrid>
                <a:gridCol w="792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11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59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Keywor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Conten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RegionI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Complain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ervi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Warranty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ervi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Warranty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Lawsui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Complain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Tax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uppor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OMITTE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446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" presetClass="emph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3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3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34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42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58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9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60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1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62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3" grpId="1" animBg="1"/>
      <p:bldP spid="64" grpId="0" animBg="1"/>
      <p:bldP spid="78" grpId="0" animBg="1"/>
      <p:bldP spid="78" grpId="1" animBg="1"/>
      <p:bldP spid="79" grpId="0" animBg="1"/>
      <p:bldP spid="79" grpId="1" animBg="1"/>
      <p:bldP spid="80" grpId="0" animBg="1"/>
      <p:bldP spid="80" grpId="1" animBg="1"/>
      <p:bldP spid="81" grpId="0" animBg="1"/>
      <p:bldP spid="82" grpId="0" animBg="1"/>
      <p:bldP spid="83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Execution: Shuffle and reduce</a:t>
            </a:r>
            <a:endParaRPr lang="ko-KR" altLang="en-US" dirty="0"/>
          </a:p>
        </p:txBody>
      </p:sp>
      <p:sp>
        <p:nvSpPr>
          <p:cNvPr id="66" name="Flowchart: Magnetic Disk 20"/>
          <p:cNvSpPr/>
          <p:nvPr/>
        </p:nvSpPr>
        <p:spPr>
          <a:xfrm>
            <a:off x="8073821" y="2900441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3</a:t>
            </a:r>
          </a:p>
        </p:txBody>
      </p:sp>
      <p:sp>
        <p:nvSpPr>
          <p:cNvPr id="67" name="Flowchart: Magnetic Disk 19"/>
          <p:cNvSpPr/>
          <p:nvPr/>
        </p:nvSpPr>
        <p:spPr>
          <a:xfrm>
            <a:off x="5938603" y="2900441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2</a:t>
            </a:r>
          </a:p>
        </p:txBody>
      </p:sp>
      <p:sp>
        <p:nvSpPr>
          <p:cNvPr id="68" name="Flowchart: Magnetic Disk 11"/>
          <p:cNvSpPr/>
          <p:nvPr/>
        </p:nvSpPr>
        <p:spPr>
          <a:xfrm>
            <a:off x="3803385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1</a:t>
            </a:r>
          </a:p>
        </p:txBody>
      </p:sp>
      <p:graphicFrame>
        <p:nvGraphicFramePr>
          <p:cNvPr id="69" name="Table 63"/>
          <p:cNvGraphicFramePr>
            <a:graphicFrameLocks noGrp="1"/>
          </p:cNvGraphicFramePr>
          <p:nvPr>
            <p:extLst/>
          </p:nvPr>
        </p:nvGraphicFramePr>
        <p:xfrm>
          <a:off x="3173654" y="2987085"/>
          <a:ext cx="2253792" cy="252557"/>
        </p:xfrm>
        <a:graphic>
          <a:graphicData uri="http://schemas.openxmlformats.org/drawingml/2006/table">
            <a:tbl>
              <a:tblPr firstRow="1" bandRow="1"/>
              <a:tblGrid>
                <a:gridCol w="796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80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2557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Complain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19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1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0" name="Table 93"/>
          <p:cNvGraphicFramePr>
            <a:graphicFrameLocks noGrp="1"/>
          </p:cNvGraphicFramePr>
          <p:nvPr>
            <p:extLst/>
          </p:nvPr>
        </p:nvGraphicFramePr>
        <p:xfrm>
          <a:off x="5427446" y="2987085"/>
          <a:ext cx="2253792" cy="248694"/>
        </p:xfrm>
        <a:graphic>
          <a:graphicData uri="http://schemas.openxmlformats.org/drawingml/2006/table">
            <a:tbl>
              <a:tblPr firstRow="1" bandRow="1"/>
              <a:tblGrid>
                <a:gridCol w="7218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24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Service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44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2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1" name="Table 116"/>
          <p:cNvGraphicFramePr>
            <a:graphicFrameLocks noGrp="1"/>
          </p:cNvGraphicFramePr>
          <p:nvPr>
            <p:extLst/>
          </p:nvPr>
        </p:nvGraphicFramePr>
        <p:xfrm>
          <a:off x="7681237" y="2987085"/>
          <a:ext cx="2253792" cy="252557"/>
        </p:xfrm>
        <a:graphic>
          <a:graphicData uri="http://schemas.openxmlformats.org/drawingml/2006/table">
            <a:tbl>
              <a:tblPr firstRow="1" bandRow="1"/>
              <a:tblGrid>
                <a:gridCol w="723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07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2557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Complain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38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3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72" name="Straight Arrow Connector 121"/>
          <p:cNvCxnSpPr>
            <a:stCxn id="85" idx="3"/>
            <a:endCxn id="79" idx="0"/>
          </p:cNvCxnSpPr>
          <p:nvPr/>
        </p:nvCxnSpPr>
        <p:spPr>
          <a:xfrm flipH="1">
            <a:off x="9968970" y="3586039"/>
            <a:ext cx="915096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3" name="Straight Arrow Connector 122"/>
          <p:cNvCxnSpPr>
            <a:stCxn id="85" idx="3"/>
            <a:endCxn id="80" idx="0"/>
          </p:cNvCxnSpPr>
          <p:nvPr/>
        </p:nvCxnSpPr>
        <p:spPr>
          <a:xfrm flipH="1">
            <a:off x="8443815" y="3586039"/>
            <a:ext cx="2440251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4" name="Straight Arrow Connector 124"/>
          <p:cNvCxnSpPr>
            <a:stCxn id="66" idx="3"/>
            <a:endCxn id="80" idx="0"/>
          </p:cNvCxnSpPr>
          <p:nvPr/>
        </p:nvCxnSpPr>
        <p:spPr>
          <a:xfrm flipH="1">
            <a:off x="8443815" y="3578844"/>
            <a:ext cx="305033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5" name="Straight Arrow Connector 125"/>
          <p:cNvCxnSpPr>
            <a:stCxn id="67" idx="3"/>
            <a:endCxn id="79" idx="0"/>
          </p:cNvCxnSpPr>
          <p:nvPr/>
        </p:nvCxnSpPr>
        <p:spPr>
          <a:xfrm>
            <a:off x="6613630" y="3578844"/>
            <a:ext cx="3355340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6" name="Straight Arrow Connector 126"/>
          <p:cNvCxnSpPr>
            <a:stCxn id="68" idx="3"/>
            <a:endCxn id="80" idx="0"/>
          </p:cNvCxnSpPr>
          <p:nvPr/>
        </p:nvCxnSpPr>
        <p:spPr>
          <a:xfrm>
            <a:off x="4478412" y="3586039"/>
            <a:ext cx="3965403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7" name="Straight Arrow Connector 127"/>
          <p:cNvCxnSpPr>
            <a:stCxn id="68" idx="3"/>
            <a:endCxn id="79" idx="0"/>
          </p:cNvCxnSpPr>
          <p:nvPr/>
        </p:nvCxnSpPr>
        <p:spPr>
          <a:xfrm>
            <a:off x="4478412" y="3586039"/>
            <a:ext cx="5490558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8" name="Straight Arrow Connector 128"/>
          <p:cNvCxnSpPr>
            <a:stCxn id="67" idx="3"/>
            <a:endCxn id="80" idx="0"/>
          </p:cNvCxnSpPr>
          <p:nvPr/>
        </p:nvCxnSpPr>
        <p:spPr>
          <a:xfrm>
            <a:off x="6613630" y="3578844"/>
            <a:ext cx="1830185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sp>
        <p:nvSpPr>
          <p:cNvPr id="79" name="Flowchart: Process 120"/>
          <p:cNvSpPr/>
          <p:nvPr/>
        </p:nvSpPr>
        <p:spPr>
          <a:xfrm>
            <a:off x="9293943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5</a:t>
            </a:r>
          </a:p>
        </p:txBody>
      </p:sp>
      <p:sp>
        <p:nvSpPr>
          <p:cNvPr id="80" name="Flowchart: Process 119"/>
          <p:cNvSpPr/>
          <p:nvPr/>
        </p:nvSpPr>
        <p:spPr>
          <a:xfrm>
            <a:off x="7768788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4</a:t>
            </a:r>
          </a:p>
        </p:txBody>
      </p:sp>
      <p:sp>
        <p:nvSpPr>
          <p:cNvPr id="81" name="Flowchart: Terminator 8"/>
          <p:cNvSpPr/>
          <p:nvPr/>
        </p:nvSpPr>
        <p:spPr>
          <a:xfrm>
            <a:off x="7174968" y="1307820"/>
            <a:ext cx="1012541" cy="334138"/>
          </a:xfrm>
          <a:prstGeom prst="flowChartTerminator">
            <a:avLst/>
          </a:prstGeom>
          <a:solidFill>
            <a:srgbClr val="505050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PUT</a:t>
            </a:r>
          </a:p>
        </p:txBody>
      </p:sp>
      <p:sp>
        <p:nvSpPr>
          <p:cNvPr id="82" name="Flowchart: Terminator 10"/>
          <p:cNvSpPr/>
          <p:nvPr/>
        </p:nvSpPr>
        <p:spPr>
          <a:xfrm>
            <a:off x="6927353" y="6539282"/>
            <a:ext cx="1507771" cy="334138"/>
          </a:xfrm>
          <a:prstGeom prst="flowChartTerminator">
            <a:avLst/>
          </a:prstGeom>
          <a:solidFill>
            <a:srgbClr val="505050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UTPUT</a:t>
            </a:r>
          </a:p>
        </p:txBody>
      </p:sp>
      <p:sp>
        <p:nvSpPr>
          <p:cNvPr id="83" name="Flowchart: Process 9"/>
          <p:cNvSpPr/>
          <p:nvPr/>
        </p:nvSpPr>
        <p:spPr>
          <a:xfrm>
            <a:off x="6584319" y="2125805"/>
            <a:ext cx="2193838" cy="339202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-Execution</a:t>
            </a:r>
          </a:p>
        </p:txBody>
      </p:sp>
      <p:sp>
        <p:nvSpPr>
          <p:cNvPr id="84" name="Flowchart: Process 13"/>
          <p:cNvSpPr/>
          <p:nvPr/>
        </p:nvSpPr>
        <p:spPr>
          <a:xfrm>
            <a:off x="3193322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1</a:t>
            </a:r>
          </a:p>
        </p:txBody>
      </p:sp>
      <p:sp>
        <p:nvSpPr>
          <p:cNvPr id="85" name="Flowchart: Magnetic Disk 21"/>
          <p:cNvSpPr/>
          <p:nvPr/>
        </p:nvSpPr>
        <p:spPr>
          <a:xfrm>
            <a:off x="10209038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N</a:t>
            </a:r>
          </a:p>
        </p:txBody>
      </p:sp>
      <p:sp>
        <p:nvSpPr>
          <p:cNvPr id="86" name="Flowchart: Process 23"/>
          <p:cNvSpPr/>
          <p:nvPr/>
        </p:nvSpPr>
        <p:spPr>
          <a:xfrm>
            <a:off x="4718477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2</a:t>
            </a:r>
          </a:p>
        </p:txBody>
      </p:sp>
      <p:sp>
        <p:nvSpPr>
          <p:cNvPr id="87" name="Flowchart: Process 24"/>
          <p:cNvSpPr/>
          <p:nvPr/>
        </p:nvSpPr>
        <p:spPr>
          <a:xfrm>
            <a:off x="6243632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3</a:t>
            </a:r>
          </a:p>
        </p:txBody>
      </p:sp>
      <p:sp>
        <p:nvSpPr>
          <p:cNvPr id="88" name="Flowchart: Process 25"/>
          <p:cNvSpPr/>
          <p:nvPr/>
        </p:nvSpPr>
        <p:spPr>
          <a:xfrm>
            <a:off x="10819098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m</a:t>
            </a:r>
          </a:p>
        </p:txBody>
      </p:sp>
      <p:sp>
        <p:nvSpPr>
          <p:cNvPr id="89" name="Flowchart: Process 26"/>
          <p:cNvSpPr/>
          <p:nvPr/>
        </p:nvSpPr>
        <p:spPr>
          <a:xfrm>
            <a:off x="6584319" y="5778188"/>
            <a:ext cx="2193838" cy="339202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Summary</a:t>
            </a:r>
          </a:p>
        </p:txBody>
      </p:sp>
      <p:cxnSp>
        <p:nvCxnSpPr>
          <p:cNvPr id="90" name="Straight Arrow Connector 27"/>
          <p:cNvCxnSpPr>
            <a:stCxn id="81" idx="2"/>
            <a:endCxn id="83" idx="0"/>
          </p:cNvCxnSpPr>
          <p:nvPr/>
        </p:nvCxnSpPr>
        <p:spPr>
          <a:xfrm>
            <a:off x="7681238" y="1641958"/>
            <a:ext cx="0" cy="4838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1" name="Straight Arrow Connector 31"/>
          <p:cNvCxnSpPr>
            <a:stCxn id="83" idx="2"/>
            <a:endCxn id="68" idx="1"/>
          </p:cNvCxnSpPr>
          <p:nvPr/>
        </p:nvCxnSpPr>
        <p:spPr>
          <a:xfrm flipH="1">
            <a:off x="4478412" y="2465007"/>
            <a:ext cx="3202826" cy="442629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2" name="Straight Arrow Connector 32"/>
          <p:cNvCxnSpPr>
            <a:stCxn id="83" idx="2"/>
            <a:endCxn id="66" idx="1"/>
          </p:cNvCxnSpPr>
          <p:nvPr/>
        </p:nvCxnSpPr>
        <p:spPr>
          <a:xfrm>
            <a:off x="7681239" y="2465007"/>
            <a:ext cx="1067609" cy="435434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3" name="Straight Arrow Connector 33"/>
          <p:cNvCxnSpPr>
            <a:stCxn id="83" idx="2"/>
            <a:endCxn id="67" idx="1"/>
          </p:cNvCxnSpPr>
          <p:nvPr/>
        </p:nvCxnSpPr>
        <p:spPr>
          <a:xfrm flipH="1">
            <a:off x="6613630" y="2465007"/>
            <a:ext cx="1067608" cy="435434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4" name="Straight Arrow Connector 34"/>
          <p:cNvCxnSpPr>
            <a:stCxn id="83" idx="2"/>
            <a:endCxn id="85" idx="1"/>
          </p:cNvCxnSpPr>
          <p:nvPr/>
        </p:nvCxnSpPr>
        <p:spPr>
          <a:xfrm>
            <a:off x="7681238" y="2465007"/>
            <a:ext cx="3202827" cy="442629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5" name="Straight Arrow Connector 35"/>
          <p:cNvCxnSpPr>
            <a:stCxn id="89" idx="2"/>
            <a:endCxn id="82" idx="0"/>
          </p:cNvCxnSpPr>
          <p:nvPr/>
        </p:nvCxnSpPr>
        <p:spPr>
          <a:xfrm>
            <a:off x="7681238" y="6117390"/>
            <a:ext cx="0" cy="42189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6" name="Straight Arrow Connector 79"/>
          <p:cNvCxnSpPr>
            <a:stCxn id="88" idx="2"/>
            <a:endCxn id="89" idx="0"/>
          </p:cNvCxnSpPr>
          <p:nvPr/>
        </p:nvCxnSpPr>
        <p:spPr>
          <a:xfrm flipH="1">
            <a:off x="7681238" y="5361358"/>
            <a:ext cx="3812887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7" name="Straight Arrow Connector 80"/>
          <p:cNvCxnSpPr>
            <a:stCxn id="86" idx="2"/>
            <a:endCxn id="89" idx="0"/>
          </p:cNvCxnSpPr>
          <p:nvPr/>
        </p:nvCxnSpPr>
        <p:spPr>
          <a:xfrm>
            <a:off x="5393504" y="5361358"/>
            <a:ext cx="2287734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8" name="Straight Arrow Connector 81"/>
          <p:cNvCxnSpPr>
            <a:stCxn id="87" idx="2"/>
            <a:endCxn id="89" idx="0"/>
          </p:cNvCxnSpPr>
          <p:nvPr/>
        </p:nvCxnSpPr>
        <p:spPr>
          <a:xfrm>
            <a:off x="6918659" y="5361358"/>
            <a:ext cx="762579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9" name="Straight Arrow Connector 82"/>
          <p:cNvCxnSpPr/>
          <p:nvPr/>
        </p:nvCxnSpPr>
        <p:spPr>
          <a:xfrm>
            <a:off x="3868348" y="5390251"/>
            <a:ext cx="3812889" cy="3782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0" name="Straight Arrow Connector 96"/>
          <p:cNvCxnSpPr>
            <a:stCxn id="68" idx="3"/>
            <a:endCxn id="84" idx="0"/>
          </p:cNvCxnSpPr>
          <p:nvPr/>
        </p:nvCxnSpPr>
        <p:spPr>
          <a:xfrm flipH="1">
            <a:off x="3868349" y="3586039"/>
            <a:ext cx="610063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1" name="Straight Arrow Connector 97"/>
          <p:cNvCxnSpPr>
            <a:stCxn id="68" idx="3"/>
            <a:endCxn id="87" idx="0"/>
          </p:cNvCxnSpPr>
          <p:nvPr/>
        </p:nvCxnSpPr>
        <p:spPr>
          <a:xfrm>
            <a:off x="4478412" y="3586039"/>
            <a:ext cx="2440248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2" name="Straight Arrow Connector 98"/>
          <p:cNvCxnSpPr>
            <a:stCxn id="68" idx="3"/>
            <a:endCxn id="86" idx="0"/>
          </p:cNvCxnSpPr>
          <p:nvPr/>
        </p:nvCxnSpPr>
        <p:spPr>
          <a:xfrm>
            <a:off x="4478412" y="3586039"/>
            <a:ext cx="915093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3" name="Straight Arrow Connector 99"/>
          <p:cNvCxnSpPr>
            <a:stCxn id="68" idx="3"/>
            <a:endCxn id="88" idx="0"/>
          </p:cNvCxnSpPr>
          <p:nvPr/>
        </p:nvCxnSpPr>
        <p:spPr>
          <a:xfrm>
            <a:off x="4478412" y="3586039"/>
            <a:ext cx="7015714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4" name="Straight Arrow Connector 100"/>
          <p:cNvCxnSpPr>
            <a:stCxn id="67" idx="3"/>
            <a:endCxn id="88" idx="0"/>
          </p:cNvCxnSpPr>
          <p:nvPr/>
        </p:nvCxnSpPr>
        <p:spPr>
          <a:xfrm>
            <a:off x="6613629" y="3578844"/>
            <a:ext cx="4880496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5" name="Straight Arrow Connector 101"/>
          <p:cNvCxnSpPr>
            <a:stCxn id="67" idx="3"/>
            <a:endCxn id="86" idx="0"/>
          </p:cNvCxnSpPr>
          <p:nvPr/>
        </p:nvCxnSpPr>
        <p:spPr>
          <a:xfrm flipH="1">
            <a:off x="5393504" y="3578844"/>
            <a:ext cx="1220125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6" name="Straight Arrow Connector 102"/>
          <p:cNvCxnSpPr>
            <a:stCxn id="67" idx="3"/>
            <a:endCxn id="87" idx="0"/>
          </p:cNvCxnSpPr>
          <p:nvPr/>
        </p:nvCxnSpPr>
        <p:spPr>
          <a:xfrm>
            <a:off x="6613629" y="3578844"/>
            <a:ext cx="305030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7" name="Straight Arrow Connector 103"/>
          <p:cNvCxnSpPr>
            <a:stCxn id="67" idx="3"/>
            <a:endCxn id="84" idx="0"/>
          </p:cNvCxnSpPr>
          <p:nvPr/>
        </p:nvCxnSpPr>
        <p:spPr>
          <a:xfrm flipH="1">
            <a:off x="3868349" y="3578844"/>
            <a:ext cx="2745281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8" name="Straight Arrow Connector 104"/>
          <p:cNvCxnSpPr>
            <a:stCxn id="66" idx="3"/>
            <a:endCxn id="84" idx="0"/>
          </p:cNvCxnSpPr>
          <p:nvPr/>
        </p:nvCxnSpPr>
        <p:spPr>
          <a:xfrm flipH="1">
            <a:off x="3868349" y="3578844"/>
            <a:ext cx="4880499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9" name="Straight Arrow Connector 105"/>
          <p:cNvCxnSpPr>
            <a:stCxn id="66" idx="3"/>
            <a:endCxn id="86" idx="0"/>
          </p:cNvCxnSpPr>
          <p:nvPr/>
        </p:nvCxnSpPr>
        <p:spPr>
          <a:xfrm flipH="1">
            <a:off x="5393505" y="3578844"/>
            <a:ext cx="3355343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0" name="Straight Arrow Connector 106"/>
          <p:cNvCxnSpPr>
            <a:stCxn id="66" idx="3"/>
            <a:endCxn id="87" idx="0"/>
          </p:cNvCxnSpPr>
          <p:nvPr/>
        </p:nvCxnSpPr>
        <p:spPr>
          <a:xfrm flipH="1">
            <a:off x="6918660" y="3578844"/>
            <a:ext cx="1830188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1" name="Straight Arrow Connector 107"/>
          <p:cNvCxnSpPr>
            <a:stCxn id="66" idx="3"/>
            <a:endCxn id="88" idx="0"/>
          </p:cNvCxnSpPr>
          <p:nvPr/>
        </p:nvCxnSpPr>
        <p:spPr>
          <a:xfrm>
            <a:off x="8748848" y="3578844"/>
            <a:ext cx="2745278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2" name="Straight Arrow Connector 108"/>
          <p:cNvCxnSpPr>
            <a:stCxn id="85" idx="3"/>
            <a:endCxn id="84" idx="0"/>
          </p:cNvCxnSpPr>
          <p:nvPr/>
        </p:nvCxnSpPr>
        <p:spPr>
          <a:xfrm flipH="1">
            <a:off x="3868349" y="3586039"/>
            <a:ext cx="7015717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3" name="Straight Arrow Connector 109"/>
          <p:cNvCxnSpPr>
            <a:stCxn id="85" idx="3"/>
            <a:endCxn id="87" idx="0"/>
          </p:cNvCxnSpPr>
          <p:nvPr/>
        </p:nvCxnSpPr>
        <p:spPr>
          <a:xfrm flipH="1">
            <a:off x="6918659" y="3586039"/>
            <a:ext cx="3965406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4" name="Straight Arrow Connector 110"/>
          <p:cNvCxnSpPr>
            <a:stCxn id="85" idx="3"/>
            <a:endCxn id="86" idx="0"/>
          </p:cNvCxnSpPr>
          <p:nvPr/>
        </p:nvCxnSpPr>
        <p:spPr>
          <a:xfrm flipH="1">
            <a:off x="5393504" y="3586039"/>
            <a:ext cx="5490561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5" name="Straight Arrow Connector 111"/>
          <p:cNvCxnSpPr>
            <a:stCxn id="85" idx="3"/>
            <a:endCxn id="88" idx="0"/>
          </p:cNvCxnSpPr>
          <p:nvPr/>
        </p:nvCxnSpPr>
        <p:spPr>
          <a:xfrm>
            <a:off x="10884065" y="3586039"/>
            <a:ext cx="610060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6" name="Straight Arrow Connector 123"/>
          <p:cNvCxnSpPr>
            <a:stCxn id="66" idx="3"/>
            <a:endCxn id="79" idx="0"/>
          </p:cNvCxnSpPr>
          <p:nvPr/>
        </p:nvCxnSpPr>
        <p:spPr>
          <a:xfrm>
            <a:off x="8748848" y="3578844"/>
            <a:ext cx="1220122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7" name="Straight Arrow Connector 130"/>
          <p:cNvCxnSpPr>
            <a:stCxn id="80" idx="2"/>
            <a:endCxn id="89" idx="0"/>
          </p:cNvCxnSpPr>
          <p:nvPr/>
        </p:nvCxnSpPr>
        <p:spPr>
          <a:xfrm flipH="1">
            <a:off x="7681238" y="5361358"/>
            <a:ext cx="762577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8" name="Straight Arrow Connector 131"/>
          <p:cNvCxnSpPr>
            <a:stCxn id="79" idx="2"/>
            <a:endCxn id="89" idx="0"/>
          </p:cNvCxnSpPr>
          <p:nvPr/>
        </p:nvCxnSpPr>
        <p:spPr>
          <a:xfrm flipH="1">
            <a:off x="7681238" y="5361358"/>
            <a:ext cx="2287732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graphicFrame>
        <p:nvGraphicFramePr>
          <p:cNvPr id="119" name="Table 91"/>
          <p:cNvGraphicFramePr>
            <a:graphicFrameLocks noGrp="1"/>
          </p:cNvGraphicFramePr>
          <p:nvPr>
            <p:extLst/>
          </p:nvPr>
        </p:nvGraphicFramePr>
        <p:xfrm>
          <a:off x="3173654" y="3239642"/>
          <a:ext cx="2253792" cy="248694"/>
        </p:xfrm>
        <a:graphic>
          <a:graphicData uri="http://schemas.openxmlformats.org/drawingml/2006/table">
            <a:tbl>
              <a:tblPr firstRow="1" bandRow="1"/>
              <a:tblGrid>
                <a:gridCol w="7944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99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Service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23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1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0" name="Table 92"/>
          <p:cNvGraphicFramePr>
            <a:graphicFrameLocks noGrp="1"/>
          </p:cNvGraphicFramePr>
          <p:nvPr>
            <p:extLst/>
          </p:nvPr>
        </p:nvGraphicFramePr>
        <p:xfrm>
          <a:off x="3164747" y="3496200"/>
          <a:ext cx="2253792" cy="255876"/>
        </p:xfrm>
        <a:graphic>
          <a:graphicData uri="http://schemas.openxmlformats.org/drawingml/2006/table">
            <a:tbl>
              <a:tblPr firstRow="1" bandRow="1"/>
              <a:tblGrid>
                <a:gridCol w="796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80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5876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Warranty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22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1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1" name="Table 118"/>
          <p:cNvGraphicFramePr>
            <a:graphicFrameLocks noGrp="1"/>
          </p:cNvGraphicFramePr>
          <p:nvPr>
            <p:extLst/>
          </p:nvPr>
        </p:nvGraphicFramePr>
        <p:xfrm>
          <a:off x="7681237" y="3490386"/>
          <a:ext cx="2253792" cy="248694"/>
        </p:xfrm>
        <a:graphic>
          <a:graphicData uri="http://schemas.openxmlformats.org/drawingml/2006/table">
            <a:tbl>
              <a:tblPr firstRow="1" bandRow="1"/>
              <a:tblGrid>
                <a:gridCol w="7312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Support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69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3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2" name="Table 115"/>
          <p:cNvGraphicFramePr>
            <a:graphicFrameLocks noGrp="1"/>
          </p:cNvGraphicFramePr>
          <p:nvPr>
            <p:extLst/>
          </p:nvPr>
        </p:nvGraphicFramePr>
        <p:xfrm>
          <a:off x="5427446" y="3490386"/>
          <a:ext cx="2253792" cy="248694"/>
        </p:xfrm>
        <a:graphic>
          <a:graphicData uri="http://schemas.openxmlformats.org/drawingml/2006/table">
            <a:tbl>
              <a:tblPr firstRow="1" bandRow="1"/>
              <a:tblGrid>
                <a:gridCol w="7294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48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Lawsuit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7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2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3" name="Title 2"/>
          <p:cNvSpPr txBox="1">
            <a:spLocks/>
          </p:cNvSpPr>
          <p:nvPr/>
        </p:nvSpPr>
        <p:spPr bwMode="ltGray">
          <a:xfrm>
            <a:off x="274640" y="1570636"/>
            <a:ext cx="2766168" cy="4898441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rgbClr val="0072C6"/>
          </a:solidFill>
          <a:ln>
            <a:noFill/>
          </a:ln>
          <a:extLst/>
        </p:spPr>
        <p:txBody>
          <a:bodyPr vert="horz" wrap="square" lIns="326473" tIns="886140" rIns="274320" bIns="88614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cap="none" spc="-204" baseline="0" dirty="0">
                <a:ln w="3175">
                  <a:noFill/>
                </a:ln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Mapper </a:t>
            </a: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함수는 파티션의 모든 행을 통해 실행</a:t>
            </a:r>
            <a:endParaRPr kumimoji="0" lang="en-US" altLang="ko-KR" sz="21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Mapper</a:t>
            </a: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는 결과를 </a:t>
            </a: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Reducer</a:t>
            </a: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로 </a:t>
            </a: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Push</a:t>
            </a:r>
          </a:p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Reducer</a:t>
            </a: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는 </a:t>
            </a: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Mapper</a:t>
            </a: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로 출력 처리를 시작</a:t>
            </a:r>
            <a:endParaRPr kumimoji="0" lang="en-US" altLang="ko-KR" sz="21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</p:txBody>
      </p:sp>
      <p:graphicFrame>
        <p:nvGraphicFramePr>
          <p:cNvPr id="124" name="Table 117"/>
          <p:cNvGraphicFramePr>
            <a:graphicFrameLocks noGrp="1"/>
          </p:cNvGraphicFramePr>
          <p:nvPr>
            <p:extLst/>
          </p:nvPr>
        </p:nvGraphicFramePr>
        <p:xfrm>
          <a:off x="7681237" y="3239642"/>
          <a:ext cx="2253792" cy="248694"/>
        </p:xfrm>
        <a:graphic>
          <a:graphicData uri="http://schemas.openxmlformats.org/drawingml/2006/table">
            <a:tbl>
              <a:tblPr firstRow="1" bandRow="1"/>
              <a:tblGrid>
                <a:gridCol w="7312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Tax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23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3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5" name="Table 94"/>
          <p:cNvGraphicFramePr>
            <a:graphicFrameLocks noGrp="1"/>
          </p:cNvGraphicFramePr>
          <p:nvPr>
            <p:extLst/>
          </p:nvPr>
        </p:nvGraphicFramePr>
        <p:xfrm>
          <a:off x="5427446" y="3239642"/>
          <a:ext cx="2253792" cy="250318"/>
        </p:xfrm>
        <a:graphic>
          <a:graphicData uri="http://schemas.openxmlformats.org/drawingml/2006/table">
            <a:tbl>
              <a:tblPr firstRow="1" bandRow="1"/>
              <a:tblGrid>
                <a:gridCol w="7218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24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031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Warranty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25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>
                          <a:solidFill>
                            <a:sysClr val="windowText" lastClr="000000"/>
                          </a:solidFill>
                        </a:rPr>
                        <a:t>20</a:t>
                      </a:r>
                    </a:p>
                  </a:txBody>
                  <a:tcPr marL="93260" marR="93260" marT="46630" marB="4663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6" name="Table 86"/>
          <p:cNvGraphicFramePr>
            <a:graphicFrameLocks noGrp="1"/>
          </p:cNvGraphicFramePr>
          <p:nvPr>
            <p:extLst/>
          </p:nvPr>
        </p:nvGraphicFramePr>
        <p:xfrm>
          <a:off x="3173654" y="2742253"/>
          <a:ext cx="2253792" cy="1428800"/>
        </p:xfrm>
        <a:graphic>
          <a:graphicData uri="http://schemas.openxmlformats.org/drawingml/2006/table">
            <a:tbl>
              <a:tblPr firstRow="1" bandRow="1"/>
              <a:tblGrid>
                <a:gridCol w="785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85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8613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Keywor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Occurren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RegionI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61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Complain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9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2960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ervi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3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8613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Warranty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2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1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27" name="Table 87"/>
          <p:cNvGraphicFramePr>
            <a:graphicFrameLocks noGrp="1"/>
          </p:cNvGraphicFramePr>
          <p:nvPr>
            <p:extLst/>
          </p:nvPr>
        </p:nvGraphicFramePr>
        <p:xfrm>
          <a:off x="5427446" y="2742250"/>
          <a:ext cx="2253792" cy="1405250"/>
        </p:xfrm>
        <a:graphic>
          <a:graphicData uri="http://schemas.openxmlformats.org/drawingml/2006/table">
            <a:tbl>
              <a:tblPr firstRow="1" bandRow="1"/>
              <a:tblGrid>
                <a:gridCol w="7218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5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65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810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Keywor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Occurren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RegionI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48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ervi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44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20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Warranty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5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74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Lawsui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217A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28" name="Table 88"/>
          <p:cNvGraphicFramePr>
            <a:graphicFrameLocks noGrp="1"/>
          </p:cNvGraphicFramePr>
          <p:nvPr>
            <p:extLst/>
          </p:nvPr>
        </p:nvGraphicFramePr>
        <p:xfrm>
          <a:off x="7681237" y="2742250"/>
          <a:ext cx="2253792" cy="1396434"/>
        </p:xfrm>
        <a:graphic>
          <a:graphicData uri="http://schemas.openxmlformats.org/drawingml/2006/table">
            <a:tbl>
              <a:tblPr firstRow="1" bandRow="1"/>
              <a:tblGrid>
                <a:gridCol w="723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07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11866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Keywor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Occurren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800" dirty="0"/>
                        <a:t>RegionI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84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Complain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8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362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Tax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23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362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Suppor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69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/>
                        <a:t>30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5136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9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2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23 -0.01361 L -0.01021 0.24013 " pathEditMode="relative" rAng="0" ptsTypes="AA">
                                      <p:cBhvr>
                                        <p:cTn id="5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72" y="12687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23 -0.01362 L 0.1228 0.1793 " pathEditMode="relative" rAng="0" ptsTypes="AA">
                                      <p:cBhvr>
                                        <p:cTn id="52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78" y="9646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24 -0.01816 L 0.24292 0.17135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78" y="9464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23 -0.01361 L -0.37363 0.33251 " pathEditMode="relative" rAng="0" ptsTypes="AA">
                                      <p:cBhvr>
                                        <p:cTn id="5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849" y="17295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23 -0.01362 L -0.06357 0.36019 " pathEditMode="relative" rAng="0" ptsTypes="AA">
                                      <p:cBhvr>
                                        <p:cTn id="5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340" y="18679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23 -0.01362 L 0.06421 0.29664 " pathEditMode="relative" rAng="0" ptsTypes="AA">
                                      <p:cBhvr>
                                        <p:cTn id="60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42" y="15502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2668E-6 4.72084E-6 L 0.18739 0.17271 " pathEditMode="relative" rAng="0" ptsTypes="AA">
                                      <p:cBhvr>
                                        <p:cTn id="62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69" y="8625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23 -0.01362 L 0.12496 0.14344 " pathEditMode="relative" rAng="0" ptsTypes="AA">
                                      <p:cBhvr>
                                        <p:cTn id="64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80" y="7853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323 -0.01362 L 0.25989 0.20426 " pathEditMode="relative" rAng="0" ptsTypes="AA">
                                      <p:cBhvr>
                                        <p:cTn id="66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833" y="108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7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7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7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83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4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9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96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7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10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104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10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9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1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12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14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16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18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20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2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3" dur="500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500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8" dur="500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0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3" dur="500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8" dur="500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43" dur="500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48" dur="500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0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3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8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60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63" dur="500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500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65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0" grpId="0" animBg="1"/>
      <p:bldP spid="84" grpId="0" animBg="1"/>
      <p:bldP spid="86" grpId="0" animBg="1"/>
      <p:bldP spid="87" grpId="0" animBg="1"/>
      <p:bldP spid="8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ntroducing Apache Hadoop</a:t>
            </a:r>
            <a:endParaRPr lang="ko-KR" altLang="en-US"/>
          </a:p>
        </p:txBody>
      </p:sp>
      <p:grpSp>
        <p:nvGrpSpPr>
          <p:cNvPr id="119" name="Group 8"/>
          <p:cNvGrpSpPr/>
          <p:nvPr/>
        </p:nvGrpSpPr>
        <p:grpSpPr>
          <a:xfrm>
            <a:off x="8079620" y="3600284"/>
            <a:ext cx="3609289" cy="2541917"/>
            <a:chOff x="8241632" y="3671980"/>
            <a:chExt cx="3681663" cy="2592888"/>
          </a:xfrm>
        </p:grpSpPr>
        <p:sp>
          <p:nvSpPr>
            <p:cNvPr id="120" name="Rectangle 70"/>
            <p:cNvSpPr/>
            <p:nvPr/>
          </p:nvSpPr>
          <p:spPr bwMode="auto">
            <a:xfrm>
              <a:off x="8241632" y="3671980"/>
              <a:ext cx="3681663" cy="2592888"/>
            </a:xfrm>
            <a:prstGeom prst="rect">
              <a:avLst/>
            </a:prstGeom>
            <a:solidFill>
              <a:srgbClr val="0072C6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162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45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56637">
                        <a:srgbClr val="FFFFFF"/>
                      </a:gs>
                      <a:gs pos="11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MS PGothic" charset="0"/>
                  <a:cs typeface="MS PGothic" charset="0"/>
                </a:rPr>
                <a:t>Data Velocity</a:t>
              </a:r>
            </a:p>
          </p:txBody>
        </p:sp>
        <p:sp>
          <p:nvSpPr>
            <p:cNvPr id="121" name="Freeform 9"/>
            <p:cNvSpPr>
              <a:spLocks noChangeAspect="1" noEditPoints="1"/>
            </p:cNvSpPr>
            <p:nvPr/>
          </p:nvSpPr>
          <p:spPr bwMode="auto">
            <a:xfrm>
              <a:off x="9354130" y="4691063"/>
              <a:ext cx="1456666" cy="793988"/>
            </a:xfrm>
            <a:custGeom>
              <a:avLst/>
              <a:gdLst>
                <a:gd name="T0" fmla="*/ 267 w 455"/>
                <a:gd name="T1" fmla="*/ 136 h 240"/>
                <a:gd name="T2" fmla="*/ 278 w 455"/>
                <a:gd name="T3" fmla="*/ 94 h 240"/>
                <a:gd name="T4" fmla="*/ 330 w 455"/>
                <a:gd name="T5" fmla="*/ 145 h 240"/>
                <a:gd name="T6" fmla="*/ 308 w 455"/>
                <a:gd name="T7" fmla="*/ 105 h 240"/>
                <a:gd name="T8" fmla="*/ 319 w 455"/>
                <a:gd name="T9" fmla="*/ 136 h 240"/>
                <a:gd name="T10" fmla="*/ 367 w 455"/>
                <a:gd name="T11" fmla="*/ 139 h 240"/>
                <a:gd name="T12" fmla="*/ 355 w 455"/>
                <a:gd name="T13" fmla="*/ 94 h 240"/>
                <a:gd name="T14" fmla="*/ 347 w 455"/>
                <a:gd name="T15" fmla="*/ 120 h 240"/>
                <a:gd name="T16" fmla="*/ 381 w 455"/>
                <a:gd name="T17" fmla="*/ 145 h 240"/>
                <a:gd name="T18" fmla="*/ 380 w 455"/>
                <a:gd name="T19" fmla="*/ 107 h 240"/>
                <a:gd name="T20" fmla="*/ 413 w 455"/>
                <a:gd name="T21" fmla="*/ 136 h 240"/>
                <a:gd name="T22" fmla="*/ 437 w 455"/>
                <a:gd name="T23" fmla="*/ 146 h 240"/>
                <a:gd name="T24" fmla="*/ 455 w 455"/>
                <a:gd name="T25" fmla="*/ 119 h 240"/>
                <a:gd name="T26" fmla="*/ 437 w 455"/>
                <a:gd name="T27" fmla="*/ 137 h 240"/>
                <a:gd name="T28" fmla="*/ 253 w 455"/>
                <a:gd name="T29" fmla="*/ 221 h 240"/>
                <a:gd name="T30" fmla="*/ 272 w 455"/>
                <a:gd name="T31" fmla="*/ 194 h 240"/>
                <a:gd name="T32" fmla="*/ 254 w 455"/>
                <a:gd name="T33" fmla="*/ 212 h 240"/>
                <a:gd name="T34" fmla="*/ 295 w 455"/>
                <a:gd name="T35" fmla="*/ 221 h 240"/>
                <a:gd name="T36" fmla="*/ 313 w 455"/>
                <a:gd name="T37" fmla="*/ 194 h 240"/>
                <a:gd name="T38" fmla="*/ 295 w 455"/>
                <a:gd name="T39" fmla="*/ 212 h 240"/>
                <a:gd name="T40" fmla="*/ 322 w 455"/>
                <a:gd name="T41" fmla="*/ 211 h 240"/>
                <a:gd name="T42" fmla="*/ 322 w 455"/>
                <a:gd name="T43" fmla="*/ 173 h 240"/>
                <a:gd name="T44" fmla="*/ 354 w 455"/>
                <a:gd name="T45" fmla="*/ 220 h 240"/>
                <a:gd name="T46" fmla="*/ 374 w 455"/>
                <a:gd name="T47" fmla="*/ 211 h 240"/>
                <a:gd name="T48" fmla="*/ 385 w 455"/>
                <a:gd name="T49" fmla="*/ 168 h 240"/>
                <a:gd name="T50" fmla="*/ 437 w 455"/>
                <a:gd name="T51" fmla="*/ 220 h 240"/>
                <a:gd name="T52" fmla="*/ 415 w 455"/>
                <a:gd name="T53" fmla="*/ 179 h 240"/>
                <a:gd name="T54" fmla="*/ 426 w 455"/>
                <a:gd name="T55" fmla="*/ 211 h 240"/>
                <a:gd name="T56" fmla="*/ 267 w 455"/>
                <a:gd name="T57" fmla="*/ 65 h 240"/>
                <a:gd name="T58" fmla="*/ 254 w 455"/>
                <a:gd name="T59" fmla="*/ 19 h 240"/>
                <a:gd name="T60" fmla="*/ 247 w 455"/>
                <a:gd name="T61" fmla="*/ 46 h 240"/>
                <a:gd name="T62" fmla="*/ 280 w 455"/>
                <a:gd name="T63" fmla="*/ 70 h 240"/>
                <a:gd name="T64" fmla="*/ 280 w 455"/>
                <a:gd name="T65" fmla="*/ 32 h 240"/>
                <a:gd name="T66" fmla="*/ 312 w 455"/>
                <a:gd name="T67" fmla="*/ 62 h 240"/>
                <a:gd name="T68" fmla="*/ 322 w 455"/>
                <a:gd name="T69" fmla="*/ 62 h 240"/>
                <a:gd name="T70" fmla="*/ 322 w 455"/>
                <a:gd name="T71" fmla="*/ 23 h 240"/>
                <a:gd name="T72" fmla="*/ 354 w 455"/>
                <a:gd name="T73" fmla="*/ 70 h 240"/>
                <a:gd name="T74" fmla="*/ 374 w 455"/>
                <a:gd name="T75" fmla="*/ 62 h 240"/>
                <a:gd name="T76" fmla="*/ 385 w 455"/>
                <a:gd name="T77" fmla="*/ 19 h 240"/>
                <a:gd name="T78" fmla="*/ 438 w 455"/>
                <a:gd name="T79" fmla="*/ 45 h 240"/>
                <a:gd name="T80" fmla="*/ 406 w 455"/>
                <a:gd name="T81" fmla="*/ 26 h 240"/>
                <a:gd name="T82" fmla="*/ 420 w 455"/>
                <a:gd name="T83" fmla="*/ 28 h 240"/>
                <a:gd name="T84" fmla="*/ 120 w 455"/>
                <a:gd name="T85" fmla="*/ 0 h 240"/>
                <a:gd name="T86" fmla="*/ 120 w 455"/>
                <a:gd name="T87" fmla="*/ 0 h 240"/>
                <a:gd name="T88" fmla="*/ 168 w 455"/>
                <a:gd name="T89" fmla="*/ 209 h 240"/>
                <a:gd name="T90" fmla="*/ 117 w 455"/>
                <a:gd name="T91" fmla="*/ 221 h 240"/>
                <a:gd name="T92" fmla="*/ 67 w 455"/>
                <a:gd name="T93" fmla="*/ 206 h 240"/>
                <a:gd name="T94" fmla="*/ 31 w 455"/>
                <a:gd name="T95" fmla="*/ 168 h 240"/>
                <a:gd name="T96" fmla="*/ 18 w 455"/>
                <a:gd name="T97" fmla="*/ 117 h 240"/>
                <a:gd name="T98" fmla="*/ 33 w 455"/>
                <a:gd name="T99" fmla="*/ 66 h 240"/>
                <a:gd name="T100" fmla="*/ 71 w 455"/>
                <a:gd name="T101" fmla="*/ 29 h 240"/>
                <a:gd name="T102" fmla="*/ 123 w 455"/>
                <a:gd name="T103" fmla="*/ 17 h 240"/>
                <a:gd name="T104" fmla="*/ 174 w 455"/>
                <a:gd name="T105" fmla="*/ 33 h 240"/>
                <a:gd name="T106" fmla="*/ 210 w 455"/>
                <a:gd name="T107" fmla="*/ 71 h 240"/>
                <a:gd name="T108" fmla="*/ 222 w 455"/>
                <a:gd name="T109" fmla="*/ 122 h 240"/>
                <a:gd name="T110" fmla="*/ 207 w 455"/>
                <a:gd name="T111" fmla="*/ 173 h 240"/>
                <a:gd name="T112" fmla="*/ 152 w 455"/>
                <a:gd name="T113" fmla="*/ 124 h 240"/>
                <a:gd name="T114" fmla="*/ 111 w 455"/>
                <a:gd name="T115" fmla="*/ 105 h 240"/>
                <a:gd name="T116" fmla="*/ 97 w 455"/>
                <a:gd name="T117" fmla="*/ 29 h 240"/>
                <a:gd name="T118" fmla="*/ 114 w 455"/>
                <a:gd name="T119" fmla="*/ 73 h 240"/>
                <a:gd name="T120" fmla="*/ 135 w 455"/>
                <a:gd name="T121" fmla="*/ 110 h 240"/>
                <a:gd name="T122" fmla="*/ 150 w 455"/>
                <a:gd name="T123" fmla="*/ 108 h 240"/>
                <a:gd name="T124" fmla="*/ 166 w 455"/>
                <a:gd name="T125" fmla="*/ 12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5" h="240">
                  <a:moveTo>
                    <a:pt x="288" y="145"/>
                  </a:moveTo>
                  <a:cubicBezTo>
                    <a:pt x="256" y="145"/>
                    <a:pt x="256" y="145"/>
                    <a:pt x="256" y="145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67" y="136"/>
                    <a:pt x="267" y="136"/>
                    <a:pt x="267" y="136"/>
                  </a:cubicBezTo>
                  <a:cubicBezTo>
                    <a:pt x="267" y="105"/>
                    <a:pt x="267" y="105"/>
                    <a:pt x="267" y="105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6" y="98"/>
                    <a:pt x="256" y="98"/>
                    <a:pt x="256" y="98"/>
                  </a:cubicBezTo>
                  <a:cubicBezTo>
                    <a:pt x="278" y="94"/>
                    <a:pt x="278" y="94"/>
                    <a:pt x="278" y="94"/>
                  </a:cubicBezTo>
                  <a:cubicBezTo>
                    <a:pt x="278" y="136"/>
                    <a:pt x="278" y="136"/>
                    <a:pt x="278" y="136"/>
                  </a:cubicBezTo>
                  <a:cubicBezTo>
                    <a:pt x="288" y="136"/>
                    <a:pt x="288" y="136"/>
                    <a:pt x="288" y="136"/>
                  </a:cubicBezTo>
                  <a:lnTo>
                    <a:pt x="288" y="145"/>
                  </a:lnTo>
                  <a:close/>
                  <a:moveTo>
                    <a:pt x="330" y="145"/>
                  </a:moveTo>
                  <a:cubicBezTo>
                    <a:pt x="298" y="145"/>
                    <a:pt x="298" y="145"/>
                    <a:pt x="298" y="145"/>
                  </a:cubicBezTo>
                  <a:cubicBezTo>
                    <a:pt x="298" y="136"/>
                    <a:pt x="298" y="136"/>
                    <a:pt x="298" y="136"/>
                  </a:cubicBezTo>
                  <a:cubicBezTo>
                    <a:pt x="308" y="136"/>
                    <a:pt x="308" y="136"/>
                    <a:pt x="308" y="136"/>
                  </a:cubicBezTo>
                  <a:cubicBezTo>
                    <a:pt x="308" y="105"/>
                    <a:pt x="308" y="105"/>
                    <a:pt x="308" y="105"/>
                  </a:cubicBezTo>
                  <a:cubicBezTo>
                    <a:pt x="298" y="107"/>
                    <a:pt x="298" y="107"/>
                    <a:pt x="298" y="107"/>
                  </a:cubicBezTo>
                  <a:cubicBezTo>
                    <a:pt x="298" y="98"/>
                    <a:pt x="298" y="98"/>
                    <a:pt x="298" y="98"/>
                  </a:cubicBezTo>
                  <a:cubicBezTo>
                    <a:pt x="319" y="94"/>
                    <a:pt x="319" y="94"/>
                    <a:pt x="319" y="94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30" y="136"/>
                    <a:pt x="330" y="136"/>
                    <a:pt x="330" y="136"/>
                  </a:cubicBezTo>
                  <a:lnTo>
                    <a:pt x="330" y="145"/>
                  </a:lnTo>
                  <a:close/>
                  <a:moveTo>
                    <a:pt x="372" y="119"/>
                  </a:moveTo>
                  <a:cubicBezTo>
                    <a:pt x="372" y="128"/>
                    <a:pt x="371" y="135"/>
                    <a:pt x="367" y="139"/>
                  </a:cubicBezTo>
                  <a:cubicBezTo>
                    <a:pt x="364" y="144"/>
                    <a:pt x="360" y="146"/>
                    <a:pt x="354" y="146"/>
                  </a:cubicBezTo>
                  <a:cubicBezTo>
                    <a:pt x="342" y="146"/>
                    <a:pt x="336" y="137"/>
                    <a:pt x="336" y="121"/>
                  </a:cubicBezTo>
                  <a:cubicBezTo>
                    <a:pt x="336" y="112"/>
                    <a:pt x="337" y="105"/>
                    <a:pt x="341" y="100"/>
                  </a:cubicBezTo>
                  <a:cubicBezTo>
                    <a:pt x="344" y="96"/>
                    <a:pt x="349" y="94"/>
                    <a:pt x="355" y="94"/>
                  </a:cubicBezTo>
                  <a:cubicBezTo>
                    <a:pt x="366" y="94"/>
                    <a:pt x="372" y="102"/>
                    <a:pt x="372" y="119"/>
                  </a:cubicBezTo>
                  <a:close/>
                  <a:moveTo>
                    <a:pt x="361" y="120"/>
                  </a:moveTo>
                  <a:cubicBezTo>
                    <a:pt x="361" y="108"/>
                    <a:pt x="359" y="102"/>
                    <a:pt x="354" y="102"/>
                  </a:cubicBezTo>
                  <a:cubicBezTo>
                    <a:pt x="349" y="102"/>
                    <a:pt x="347" y="108"/>
                    <a:pt x="347" y="120"/>
                  </a:cubicBezTo>
                  <a:cubicBezTo>
                    <a:pt x="347" y="132"/>
                    <a:pt x="349" y="137"/>
                    <a:pt x="354" y="137"/>
                  </a:cubicBezTo>
                  <a:cubicBezTo>
                    <a:pt x="359" y="137"/>
                    <a:pt x="361" y="132"/>
                    <a:pt x="361" y="120"/>
                  </a:cubicBezTo>
                  <a:close/>
                  <a:moveTo>
                    <a:pt x="413" y="145"/>
                  </a:moveTo>
                  <a:cubicBezTo>
                    <a:pt x="381" y="145"/>
                    <a:pt x="381" y="145"/>
                    <a:pt x="381" y="145"/>
                  </a:cubicBezTo>
                  <a:cubicBezTo>
                    <a:pt x="381" y="136"/>
                    <a:pt x="381" y="136"/>
                    <a:pt x="381" y="136"/>
                  </a:cubicBezTo>
                  <a:cubicBezTo>
                    <a:pt x="391" y="136"/>
                    <a:pt x="391" y="136"/>
                    <a:pt x="391" y="136"/>
                  </a:cubicBezTo>
                  <a:cubicBezTo>
                    <a:pt x="391" y="105"/>
                    <a:pt x="391" y="105"/>
                    <a:pt x="391" y="105"/>
                  </a:cubicBezTo>
                  <a:cubicBezTo>
                    <a:pt x="380" y="107"/>
                    <a:pt x="380" y="107"/>
                    <a:pt x="380" y="107"/>
                  </a:cubicBezTo>
                  <a:cubicBezTo>
                    <a:pt x="380" y="98"/>
                    <a:pt x="380" y="98"/>
                    <a:pt x="380" y="98"/>
                  </a:cubicBezTo>
                  <a:cubicBezTo>
                    <a:pt x="402" y="94"/>
                    <a:pt x="402" y="94"/>
                    <a:pt x="402" y="94"/>
                  </a:cubicBezTo>
                  <a:cubicBezTo>
                    <a:pt x="402" y="136"/>
                    <a:pt x="402" y="136"/>
                    <a:pt x="402" y="136"/>
                  </a:cubicBezTo>
                  <a:cubicBezTo>
                    <a:pt x="413" y="136"/>
                    <a:pt x="413" y="136"/>
                    <a:pt x="413" y="136"/>
                  </a:cubicBezTo>
                  <a:lnTo>
                    <a:pt x="413" y="145"/>
                  </a:lnTo>
                  <a:close/>
                  <a:moveTo>
                    <a:pt x="455" y="119"/>
                  </a:moveTo>
                  <a:cubicBezTo>
                    <a:pt x="455" y="128"/>
                    <a:pt x="453" y="135"/>
                    <a:pt x="450" y="139"/>
                  </a:cubicBezTo>
                  <a:cubicBezTo>
                    <a:pt x="447" y="144"/>
                    <a:pt x="442" y="146"/>
                    <a:pt x="437" y="146"/>
                  </a:cubicBezTo>
                  <a:cubicBezTo>
                    <a:pt x="425" y="146"/>
                    <a:pt x="419" y="137"/>
                    <a:pt x="419" y="121"/>
                  </a:cubicBezTo>
                  <a:cubicBezTo>
                    <a:pt x="419" y="112"/>
                    <a:pt x="420" y="105"/>
                    <a:pt x="424" y="100"/>
                  </a:cubicBezTo>
                  <a:cubicBezTo>
                    <a:pt x="427" y="96"/>
                    <a:pt x="431" y="94"/>
                    <a:pt x="438" y="94"/>
                  </a:cubicBezTo>
                  <a:cubicBezTo>
                    <a:pt x="449" y="94"/>
                    <a:pt x="455" y="102"/>
                    <a:pt x="455" y="119"/>
                  </a:cubicBezTo>
                  <a:close/>
                  <a:moveTo>
                    <a:pt x="444" y="120"/>
                  </a:moveTo>
                  <a:cubicBezTo>
                    <a:pt x="444" y="108"/>
                    <a:pt x="442" y="102"/>
                    <a:pt x="437" y="102"/>
                  </a:cubicBezTo>
                  <a:cubicBezTo>
                    <a:pt x="432" y="102"/>
                    <a:pt x="430" y="108"/>
                    <a:pt x="430" y="120"/>
                  </a:cubicBezTo>
                  <a:cubicBezTo>
                    <a:pt x="430" y="132"/>
                    <a:pt x="432" y="137"/>
                    <a:pt x="437" y="137"/>
                  </a:cubicBezTo>
                  <a:cubicBezTo>
                    <a:pt x="442" y="137"/>
                    <a:pt x="444" y="132"/>
                    <a:pt x="444" y="120"/>
                  </a:cubicBezTo>
                  <a:close/>
                  <a:moveTo>
                    <a:pt x="272" y="194"/>
                  </a:moveTo>
                  <a:cubicBezTo>
                    <a:pt x="272" y="203"/>
                    <a:pt x="270" y="209"/>
                    <a:pt x="267" y="214"/>
                  </a:cubicBezTo>
                  <a:cubicBezTo>
                    <a:pt x="264" y="218"/>
                    <a:pt x="259" y="221"/>
                    <a:pt x="253" y="221"/>
                  </a:cubicBezTo>
                  <a:cubicBezTo>
                    <a:pt x="241" y="221"/>
                    <a:pt x="235" y="212"/>
                    <a:pt x="235" y="195"/>
                  </a:cubicBezTo>
                  <a:cubicBezTo>
                    <a:pt x="235" y="186"/>
                    <a:pt x="237" y="180"/>
                    <a:pt x="241" y="175"/>
                  </a:cubicBezTo>
                  <a:cubicBezTo>
                    <a:pt x="244" y="171"/>
                    <a:pt x="248" y="168"/>
                    <a:pt x="254" y="168"/>
                  </a:cubicBezTo>
                  <a:cubicBezTo>
                    <a:pt x="266" y="168"/>
                    <a:pt x="272" y="177"/>
                    <a:pt x="272" y="194"/>
                  </a:cubicBezTo>
                  <a:close/>
                  <a:moveTo>
                    <a:pt x="261" y="194"/>
                  </a:moveTo>
                  <a:cubicBezTo>
                    <a:pt x="261" y="183"/>
                    <a:pt x="258" y="177"/>
                    <a:pt x="254" y="177"/>
                  </a:cubicBezTo>
                  <a:cubicBezTo>
                    <a:pt x="249" y="177"/>
                    <a:pt x="247" y="183"/>
                    <a:pt x="247" y="195"/>
                  </a:cubicBezTo>
                  <a:cubicBezTo>
                    <a:pt x="247" y="206"/>
                    <a:pt x="249" y="212"/>
                    <a:pt x="254" y="212"/>
                  </a:cubicBezTo>
                  <a:cubicBezTo>
                    <a:pt x="258" y="212"/>
                    <a:pt x="261" y="206"/>
                    <a:pt x="261" y="194"/>
                  </a:cubicBezTo>
                  <a:close/>
                  <a:moveTo>
                    <a:pt x="313" y="194"/>
                  </a:moveTo>
                  <a:cubicBezTo>
                    <a:pt x="313" y="203"/>
                    <a:pt x="312" y="209"/>
                    <a:pt x="309" y="214"/>
                  </a:cubicBezTo>
                  <a:cubicBezTo>
                    <a:pt x="305" y="218"/>
                    <a:pt x="301" y="221"/>
                    <a:pt x="295" y="221"/>
                  </a:cubicBezTo>
                  <a:cubicBezTo>
                    <a:pt x="283" y="221"/>
                    <a:pt x="277" y="212"/>
                    <a:pt x="277" y="195"/>
                  </a:cubicBezTo>
                  <a:cubicBezTo>
                    <a:pt x="277" y="186"/>
                    <a:pt x="279" y="180"/>
                    <a:pt x="282" y="175"/>
                  </a:cubicBezTo>
                  <a:cubicBezTo>
                    <a:pt x="285" y="171"/>
                    <a:pt x="290" y="168"/>
                    <a:pt x="296" y="168"/>
                  </a:cubicBezTo>
                  <a:cubicBezTo>
                    <a:pt x="308" y="168"/>
                    <a:pt x="313" y="177"/>
                    <a:pt x="313" y="194"/>
                  </a:cubicBezTo>
                  <a:close/>
                  <a:moveTo>
                    <a:pt x="302" y="194"/>
                  </a:moveTo>
                  <a:cubicBezTo>
                    <a:pt x="302" y="183"/>
                    <a:pt x="300" y="177"/>
                    <a:pt x="295" y="177"/>
                  </a:cubicBezTo>
                  <a:cubicBezTo>
                    <a:pt x="291" y="177"/>
                    <a:pt x="288" y="183"/>
                    <a:pt x="288" y="195"/>
                  </a:cubicBezTo>
                  <a:cubicBezTo>
                    <a:pt x="288" y="206"/>
                    <a:pt x="291" y="212"/>
                    <a:pt x="295" y="212"/>
                  </a:cubicBezTo>
                  <a:cubicBezTo>
                    <a:pt x="300" y="212"/>
                    <a:pt x="302" y="206"/>
                    <a:pt x="302" y="194"/>
                  </a:cubicBezTo>
                  <a:close/>
                  <a:moveTo>
                    <a:pt x="354" y="220"/>
                  </a:moveTo>
                  <a:cubicBezTo>
                    <a:pt x="322" y="220"/>
                    <a:pt x="322" y="220"/>
                    <a:pt x="322" y="220"/>
                  </a:cubicBezTo>
                  <a:cubicBezTo>
                    <a:pt x="322" y="211"/>
                    <a:pt x="322" y="211"/>
                    <a:pt x="322" y="211"/>
                  </a:cubicBezTo>
                  <a:cubicBezTo>
                    <a:pt x="332" y="211"/>
                    <a:pt x="332" y="211"/>
                    <a:pt x="332" y="211"/>
                  </a:cubicBezTo>
                  <a:cubicBezTo>
                    <a:pt x="332" y="179"/>
                    <a:pt x="332" y="179"/>
                    <a:pt x="332" y="179"/>
                  </a:cubicBezTo>
                  <a:cubicBezTo>
                    <a:pt x="322" y="182"/>
                    <a:pt x="322" y="182"/>
                    <a:pt x="322" y="182"/>
                  </a:cubicBezTo>
                  <a:cubicBezTo>
                    <a:pt x="322" y="173"/>
                    <a:pt x="322" y="173"/>
                    <a:pt x="322" y="173"/>
                  </a:cubicBezTo>
                  <a:cubicBezTo>
                    <a:pt x="343" y="168"/>
                    <a:pt x="343" y="168"/>
                    <a:pt x="343" y="168"/>
                  </a:cubicBezTo>
                  <a:cubicBezTo>
                    <a:pt x="343" y="211"/>
                    <a:pt x="343" y="211"/>
                    <a:pt x="343" y="211"/>
                  </a:cubicBezTo>
                  <a:cubicBezTo>
                    <a:pt x="354" y="211"/>
                    <a:pt x="354" y="211"/>
                    <a:pt x="354" y="211"/>
                  </a:cubicBezTo>
                  <a:lnTo>
                    <a:pt x="354" y="220"/>
                  </a:lnTo>
                  <a:close/>
                  <a:moveTo>
                    <a:pt x="395" y="220"/>
                  </a:moveTo>
                  <a:cubicBezTo>
                    <a:pt x="363" y="220"/>
                    <a:pt x="363" y="220"/>
                    <a:pt x="363" y="220"/>
                  </a:cubicBezTo>
                  <a:cubicBezTo>
                    <a:pt x="363" y="211"/>
                    <a:pt x="363" y="211"/>
                    <a:pt x="363" y="211"/>
                  </a:cubicBezTo>
                  <a:cubicBezTo>
                    <a:pt x="374" y="211"/>
                    <a:pt x="374" y="211"/>
                    <a:pt x="374" y="211"/>
                  </a:cubicBezTo>
                  <a:cubicBezTo>
                    <a:pt x="374" y="179"/>
                    <a:pt x="374" y="179"/>
                    <a:pt x="374" y="179"/>
                  </a:cubicBezTo>
                  <a:cubicBezTo>
                    <a:pt x="363" y="182"/>
                    <a:pt x="363" y="182"/>
                    <a:pt x="363" y="182"/>
                  </a:cubicBezTo>
                  <a:cubicBezTo>
                    <a:pt x="363" y="173"/>
                    <a:pt x="363" y="173"/>
                    <a:pt x="363" y="173"/>
                  </a:cubicBezTo>
                  <a:cubicBezTo>
                    <a:pt x="385" y="168"/>
                    <a:pt x="385" y="168"/>
                    <a:pt x="385" y="168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95" y="211"/>
                    <a:pt x="395" y="211"/>
                    <a:pt x="395" y="211"/>
                  </a:cubicBezTo>
                  <a:lnTo>
                    <a:pt x="395" y="220"/>
                  </a:lnTo>
                  <a:close/>
                  <a:moveTo>
                    <a:pt x="437" y="220"/>
                  </a:moveTo>
                  <a:cubicBezTo>
                    <a:pt x="405" y="220"/>
                    <a:pt x="405" y="220"/>
                    <a:pt x="405" y="220"/>
                  </a:cubicBezTo>
                  <a:cubicBezTo>
                    <a:pt x="405" y="211"/>
                    <a:pt x="405" y="211"/>
                    <a:pt x="405" y="211"/>
                  </a:cubicBezTo>
                  <a:cubicBezTo>
                    <a:pt x="415" y="211"/>
                    <a:pt x="415" y="211"/>
                    <a:pt x="415" y="211"/>
                  </a:cubicBezTo>
                  <a:cubicBezTo>
                    <a:pt x="415" y="179"/>
                    <a:pt x="415" y="179"/>
                    <a:pt x="415" y="179"/>
                  </a:cubicBezTo>
                  <a:cubicBezTo>
                    <a:pt x="404" y="182"/>
                    <a:pt x="404" y="182"/>
                    <a:pt x="404" y="182"/>
                  </a:cubicBezTo>
                  <a:cubicBezTo>
                    <a:pt x="404" y="173"/>
                    <a:pt x="404" y="173"/>
                    <a:pt x="404" y="173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6" y="211"/>
                    <a:pt x="426" y="211"/>
                    <a:pt x="426" y="211"/>
                  </a:cubicBezTo>
                  <a:cubicBezTo>
                    <a:pt x="437" y="211"/>
                    <a:pt x="437" y="211"/>
                    <a:pt x="437" y="211"/>
                  </a:cubicBezTo>
                  <a:lnTo>
                    <a:pt x="437" y="220"/>
                  </a:lnTo>
                  <a:close/>
                  <a:moveTo>
                    <a:pt x="272" y="45"/>
                  </a:moveTo>
                  <a:cubicBezTo>
                    <a:pt x="272" y="53"/>
                    <a:pt x="270" y="60"/>
                    <a:pt x="267" y="65"/>
                  </a:cubicBezTo>
                  <a:cubicBezTo>
                    <a:pt x="264" y="69"/>
                    <a:pt x="259" y="71"/>
                    <a:pt x="253" y="71"/>
                  </a:cubicBezTo>
                  <a:cubicBezTo>
                    <a:pt x="241" y="71"/>
                    <a:pt x="235" y="63"/>
                    <a:pt x="235" y="46"/>
                  </a:cubicBezTo>
                  <a:cubicBezTo>
                    <a:pt x="235" y="37"/>
                    <a:pt x="237" y="30"/>
                    <a:pt x="241" y="26"/>
                  </a:cubicBezTo>
                  <a:cubicBezTo>
                    <a:pt x="244" y="21"/>
                    <a:pt x="248" y="19"/>
                    <a:pt x="254" y="19"/>
                  </a:cubicBezTo>
                  <a:cubicBezTo>
                    <a:pt x="266" y="19"/>
                    <a:pt x="272" y="28"/>
                    <a:pt x="272" y="45"/>
                  </a:cubicBezTo>
                  <a:close/>
                  <a:moveTo>
                    <a:pt x="261" y="45"/>
                  </a:moveTo>
                  <a:cubicBezTo>
                    <a:pt x="261" y="33"/>
                    <a:pt x="258" y="28"/>
                    <a:pt x="254" y="28"/>
                  </a:cubicBezTo>
                  <a:cubicBezTo>
                    <a:pt x="249" y="28"/>
                    <a:pt x="247" y="34"/>
                    <a:pt x="247" y="46"/>
                  </a:cubicBezTo>
                  <a:cubicBezTo>
                    <a:pt x="247" y="57"/>
                    <a:pt x="249" y="63"/>
                    <a:pt x="254" y="63"/>
                  </a:cubicBezTo>
                  <a:cubicBezTo>
                    <a:pt x="258" y="63"/>
                    <a:pt x="261" y="57"/>
                    <a:pt x="261" y="45"/>
                  </a:cubicBezTo>
                  <a:close/>
                  <a:moveTo>
                    <a:pt x="312" y="70"/>
                  </a:moveTo>
                  <a:cubicBezTo>
                    <a:pt x="280" y="70"/>
                    <a:pt x="280" y="70"/>
                    <a:pt x="280" y="70"/>
                  </a:cubicBezTo>
                  <a:cubicBezTo>
                    <a:pt x="280" y="62"/>
                    <a:pt x="280" y="62"/>
                    <a:pt x="280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1" y="30"/>
                    <a:pt x="291" y="30"/>
                    <a:pt x="291" y="30"/>
                  </a:cubicBezTo>
                  <a:cubicBezTo>
                    <a:pt x="280" y="32"/>
                    <a:pt x="280" y="32"/>
                    <a:pt x="280" y="32"/>
                  </a:cubicBezTo>
                  <a:cubicBezTo>
                    <a:pt x="280" y="23"/>
                    <a:pt x="280" y="23"/>
                    <a:pt x="280" y="23"/>
                  </a:cubicBezTo>
                  <a:cubicBezTo>
                    <a:pt x="302" y="19"/>
                    <a:pt x="302" y="19"/>
                    <a:pt x="302" y="19"/>
                  </a:cubicBezTo>
                  <a:cubicBezTo>
                    <a:pt x="302" y="62"/>
                    <a:pt x="302" y="62"/>
                    <a:pt x="302" y="62"/>
                  </a:cubicBezTo>
                  <a:cubicBezTo>
                    <a:pt x="312" y="62"/>
                    <a:pt x="312" y="62"/>
                    <a:pt x="312" y="62"/>
                  </a:cubicBezTo>
                  <a:lnTo>
                    <a:pt x="312" y="70"/>
                  </a:lnTo>
                  <a:close/>
                  <a:moveTo>
                    <a:pt x="354" y="70"/>
                  </a:moveTo>
                  <a:cubicBezTo>
                    <a:pt x="322" y="70"/>
                    <a:pt x="322" y="70"/>
                    <a:pt x="322" y="70"/>
                  </a:cubicBezTo>
                  <a:cubicBezTo>
                    <a:pt x="322" y="62"/>
                    <a:pt x="322" y="62"/>
                    <a:pt x="322" y="62"/>
                  </a:cubicBezTo>
                  <a:cubicBezTo>
                    <a:pt x="332" y="62"/>
                    <a:pt x="332" y="62"/>
                    <a:pt x="332" y="62"/>
                  </a:cubicBezTo>
                  <a:cubicBezTo>
                    <a:pt x="332" y="30"/>
                    <a:pt x="332" y="30"/>
                    <a:pt x="332" y="30"/>
                  </a:cubicBezTo>
                  <a:cubicBezTo>
                    <a:pt x="322" y="32"/>
                    <a:pt x="322" y="32"/>
                    <a:pt x="322" y="32"/>
                  </a:cubicBezTo>
                  <a:cubicBezTo>
                    <a:pt x="322" y="23"/>
                    <a:pt x="322" y="23"/>
                    <a:pt x="322" y="23"/>
                  </a:cubicBezTo>
                  <a:cubicBezTo>
                    <a:pt x="343" y="19"/>
                    <a:pt x="343" y="19"/>
                    <a:pt x="343" y="19"/>
                  </a:cubicBezTo>
                  <a:cubicBezTo>
                    <a:pt x="343" y="62"/>
                    <a:pt x="343" y="62"/>
                    <a:pt x="343" y="62"/>
                  </a:cubicBezTo>
                  <a:cubicBezTo>
                    <a:pt x="354" y="62"/>
                    <a:pt x="354" y="62"/>
                    <a:pt x="354" y="62"/>
                  </a:cubicBezTo>
                  <a:lnTo>
                    <a:pt x="354" y="70"/>
                  </a:lnTo>
                  <a:close/>
                  <a:moveTo>
                    <a:pt x="395" y="70"/>
                  </a:moveTo>
                  <a:cubicBezTo>
                    <a:pt x="363" y="70"/>
                    <a:pt x="363" y="70"/>
                    <a:pt x="363" y="70"/>
                  </a:cubicBezTo>
                  <a:cubicBezTo>
                    <a:pt x="363" y="62"/>
                    <a:pt x="363" y="62"/>
                    <a:pt x="363" y="62"/>
                  </a:cubicBezTo>
                  <a:cubicBezTo>
                    <a:pt x="374" y="62"/>
                    <a:pt x="374" y="62"/>
                    <a:pt x="374" y="62"/>
                  </a:cubicBezTo>
                  <a:cubicBezTo>
                    <a:pt x="374" y="30"/>
                    <a:pt x="374" y="30"/>
                    <a:pt x="374" y="30"/>
                  </a:cubicBezTo>
                  <a:cubicBezTo>
                    <a:pt x="363" y="32"/>
                    <a:pt x="363" y="32"/>
                    <a:pt x="363" y="32"/>
                  </a:cubicBezTo>
                  <a:cubicBezTo>
                    <a:pt x="363" y="23"/>
                    <a:pt x="363" y="23"/>
                    <a:pt x="363" y="23"/>
                  </a:cubicBezTo>
                  <a:cubicBezTo>
                    <a:pt x="385" y="19"/>
                    <a:pt x="385" y="19"/>
                    <a:pt x="385" y="19"/>
                  </a:cubicBezTo>
                  <a:cubicBezTo>
                    <a:pt x="385" y="62"/>
                    <a:pt x="385" y="62"/>
                    <a:pt x="385" y="62"/>
                  </a:cubicBezTo>
                  <a:cubicBezTo>
                    <a:pt x="395" y="62"/>
                    <a:pt x="395" y="62"/>
                    <a:pt x="395" y="62"/>
                  </a:cubicBezTo>
                  <a:lnTo>
                    <a:pt x="395" y="70"/>
                  </a:lnTo>
                  <a:close/>
                  <a:moveTo>
                    <a:pt x="438" y="45"/>
                  </a:moveTo>
                  <a:cubicBezTo>
                    <a:pt x="438" y="53"/>
                    <a:pt x="436" y="60"/>
                    <a:pt x="433" y="65"/>
                  </a:cubicBezTo>
                  <a:cubicBezTo>
                    <a:pt x="430" y="69"/>
                    <a:pt x="425" y="71"/>
                    <a:pt x="419" y="71"/>
                  </a:cubicBezTo>
                  <a:cubicBezTo>
                    <a:pt x="407" y="71"/>
                    <a:pt x="401" y="63"/>
                    <a:pt x="401" y="46"/>
                  </a:cubicBezTo>
                  <a:cubicBezTo>
                    <a:pt x="401" y="37"/>
                    <a:pt x="403" y="30"/>
                    <a:pt x="406" y="26"/>
                  </a:cubicBezTo>
                  <a:cubicBezTo>
                    <a:pt x="409" y="21"/>
                    <a:pt x="414" y="19"/>
                    <a:pt x="420" y="19"/>
                  </a:cubicBezTo>
                  <a:cubicBezTo>
                    <a:pt x="432" y="19"/>
                    <a:pt x="438" y="28"/>
                    <a:pt x="438" y="45"/>
                  </a:cubicBezTo>
                  <a:close/>
                  <a:moveTo>
                    <a:pt x="426" y="45"/>
                  </a:moveTo>
                  <a:cubicBezTo>
                    <a:pt x="426" y="33"/>
                    <a:pt x="424" y="28"/>
                    <a:pt x="420" y="28"/>
                  </a:cubicBezTo>
                  <a:cubicBezTo>
                    <a:pt x="415" y="28"/>
                    <a:pt x="412" y="34"/>
                    <a:pt x="412" y="46"/>
                  </a:cubicBezTo>
                  <a:cubicBezTo>
                    <a:pt x="412" y="57"/>
                    <a:pt x="415" y="63"/>
                    <a:pt x="419" y="63"/>
                  </a:cubicBezTo>
                  <a:cubicBezTo>
                    <a:pt x="424" y="63"/>
                    <a:pt x="426" y="57"/>
                    <a:pt x="426" y="45"/>
                  </a:cubicBezTo>
                  <a:close/>
                  <a:moveTo>
                    <a:pt x="120" y="0"/>
                  </a:moveTo>
                  <a:cubicBezTo>
                    <a:pt x="54" y="0"/>
                    <a:pt x="0" y="53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7" y="240"/>
                    <a:pt x="240" y="186"/>
                    <a:pt x="240" y="120"/>
                  </a:cubicBezTo>
                  <a:cubicBezTo>
                    <a:pt x="240" y="53"/>
                    <a:pt x="187" y="0"/>
                    <a:pt x="120" y="0"/>
                  </a:cubicBezTo>
                  <a:close/>
                  <a:moveTo>
                    <a:pt x="174" y="206"/>
                  </a:moveTo>
                  <a:cubicBezTo>
                    <a:pt x="171" y="201"/>
                    <a:pt x="171" y="201"/>
                    <a:pt x="171" y="201"/>
                  </a:cubicBezTo>
                  <a:cubicBezTo>
                    <a:pt x="166" y="205"/>
                    <a:pt x="166" y="205"/>
                    <a:pt x="166" y="205"/>
                  </a:cubicBezTo>
                  <a:cubicBezTo>
                    <a:pt x="168" y="209"/>
                    <a:pt x="168" y="209"/>
                    <a:pt x="168" y="209"/>
                  </a:cubicBezTo>
                  <a:cubicBezTo>
                    <a:pt x="155" y="217"/>
                    <a:pt x="139" y="221"/>
                    <a:pt x="123" y="221"/>
                  </a:cubicBezTo>
                  <a:cubicBezTo>
                    <a:pt x="123" y="204"/>
                    <a:pt x="123" y="204"/>
                    <a:pt x="123" y="204"/>
                  </a:cubicBezTo>
                  <a:cubicBezTo>
                    <a:pt x="117" y="204"/>
                    <a:pt x="117" y="204"/>
                    <a:pt x="117" y="204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01" y="221"/>
                    <a:pt x="85" y="217"/>
                    <a:pt x="71" y="209"/>
                  </a:cubicBezTo>
                  <a:cubicBezTo>
                    <a:pt x="75" y="205"/>
                    <a:pt x="75" y="205"/>
                    <a:pt x="75" y="205"/>
                  </a:cubicBezTo>
                  <a:cubicBezTo>
                    <a:pt x="70" y="201"/>
                    <a:pt x="70" y="201"/>
                    <a:pt x="70" y="201"/>
                  </a:cubicBezTo>
                  <a:cubicBezTo>
                    <a:pt x="67" y="206"/>
                    <a:pt x="67" y="206"/>
                    <a:pt x="67" y="206"/>
                  </a:cubicBezTo>
                  <a:cubicBezTo>
                    <a:pt x="53" y="198"/>
                    <a:pt x="42" y="186"/>
                    <a:pt x="33" y="173"/>
                  </a:cubicBezTo>
                  <a:cubicBezTo>
                    <a:pt x="39" y="170"/>
                    <a:pt x="39" y="170"/>
                    <a:pt x="39" y="170"/>
                  </a:cubicBezTo>
                  <a:cubicBezTo>
                    <a:pt x="35" y="165"/>
                    <a:pt x="35" y="165"/>
                    <a:pt x="35" y="165"/>
                  </a:cubicBezTo>
                  <a:cubicBezTo>
                    <a:pt x="31" y="168"/>
                    <a:pt x="31" y="168"/>
                    <a:pt x="31" y="168"/>
                  </a:cubicBezTo>
                  <a:cubicBezTo>
                    <a:pt x="23" y="154"/>
                    <a:pt x="19" y="139"/>
                    <a:pt x="18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9" y="100"/>
                    <a:pt x="23" y="85"/>
                    <a:pt x="31" y="71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42" y="53"/>
                    <a:pt x="53" y="41"/>
                    <a:pt x="67" y="33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85" y="22"/>
                    <a:pt x="101" y="18"/>
                    <a:pt x="117" y="17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17"/>
                    <a:pt x="123" y="17"/>
                    <a:pt x="123" y="17"/>
                  </a:cubicBezTo>
                  <a:cubicBezTo>
                    <a:pt x="139" y="18"/>
                    <a:pt x="155" y="22"/>
                    <a:pt x="168" y="29"/>
                  </a:cubicBezTo>
                  <a:cubicBezTo>
                    <a:pt x="166" y="35"/>
                    <a:pt x="166" y="35"/>
                    <a:pt x="166" y="35"/>
                  </a:cubicBezTo>
                  <a:cubicBezTo>
                    <a:pt x="171" y="38"/>
                    <a:pt x="171" y="38"/>
                    <a:pt x="171" y="38"/>
                  </a:cubicBezTo>
                  <a:cubicBezTo>
                    <a:pt x="174" y="33"/>
                    <a:pt x="174" y="33"/>
                    <a:pt x="174" y="33"/>
                  </a:cubicBezTo>
                  <a:cubicBezTo>
                    <a:pt x="187" y="41"/>
                    <a:pt x="198" y="53"/>
                    <a:pt x="207" y="66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5" y="74"/>
                    <a:pt x="205" y="74"/>
                    <a:pt x="205" y="74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17" y="85"/>
                    <a:pt x="222" y="100"/>
                    <a:pt x="222" y="117"/>
                  </a:cubicBezTo>
                  <a:cubicBezTo>
                    <a:pt x="204" y="117"/>
                    <a:pt x="204" y="117"/>
                    <a:pt x="204" y="117"/>
                  </a:cubicBezTo>
                  <a:cubicBezTo>
                    <a:pt x="204" y="122"/>
                    <a:pt x="204" y="122"/>
                    <a:pt x="204" y="122"/>
                  </a:cubicBezTo>
                  <a:cubicBezTo>
                    <a:pt x="222" y="122"/>
                    <a:pt x="222" y="122"/>
                    <a:pt x="222" y="122"/>
                  </a:cubicBezTo>
                  <a:cubicBezTo>
                    <a:pt x="221" y="139"/>
                    <a:pt x="217" y="154"/>
                    <a:pt x="210" y="168"/>
                  </a:cubicBezTo>
                  <a:cubicBezTo>
                    <a:pt x="205" y="165"/>
                    <a:pt x="205" y="165"/>
                    <a:pt x="205" y="165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198" y="186"/>
                    <a:pt x="187" y="198"/>
                    <a:pt x="174" y="206"/>
                  </a:cubicBezTo>
                  <a:close/>
                  <a:moveTo>
                    <a:pt x="166" y="120"/>
                  </a:moveTo>
                  <a:cubicBezTo>
                    <a:pt x="161" y="122"/>
                    <a:pt x="157" y="123"/>
                    <a:pt x="152" y="123"/>
                  </a:cubicBezTo>
                  <a:cubicBezTo>
                    <a:pt x="152" y="124"/>
                    <a:pt x="152" y="124"/>
                    <a:pt x="152" y="124"/>
                  </a:cubicBezTo>
                  <a:cubicBezTo>
                    <a:pt x="137" y="125"/>
                    <a:pt x="137" y="125"/>
                    <a:pt x="137" y="125"/>
                  </a:cubicBezTo>
                  <a:cubicBezTo>
                    <a:pt x="134" y="132"/>
                    <a:pt x="128" y="137"/>
                    <a:pt x="120" y="137"/>
                  </a:cubicBezTo>
                  <a:cubicBezTo>
                    <a:pt x="110" y="137"/>
                    <a:pt x="102" y="130"/>
                    <a:pt x="102" y="120"/>
                  </a:cubicBezTo>
                  <a:cubicBezTo>
                    <a:pt x="102" y="113"/>
                    <a:pt x="106" y="108"/>
                    <a:pt x="111" y="105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102" y="67"/>
                    <a:pt x="100" y="60"/>
                    <a:pt x="99" y="53"/>
                  </a:cubicBezTo>
                  <a:cubicBezTo>
                    <a:pt x="98" y="45"/>
                    <a:pt x="97" y="37"/>
                    <a:pt x="97" y="29"/>
                  </a:cubicBezTo>
                  <a:cubicBezTo>
                    <a:pt x="101" y="36"/>
                    <a:pt x="104" y="43"/>
                    <a:pt x="107" y="51"/>
                  </a:cubicBezTo>
                  <a:cubicBezTo>
                    <a:pt x="109" y="57"/>
                    <a:pt x="112" y="64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21" y="102"/>
                    <a:pt x="121" y="102"/>
                    <a:pt x="121" y="102"/>
                  </a:cubicBezTo>
                  <a:cubicBezTo>
                    <a:pt x="127" y="103"/>
                    <a:pt x="132" y="106"/>
                    <a:pt x="135" y="110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5" y="108"/>
                    <a:pt x="159" y="108"/>
                    <a:pt x="164" y="108"/>
                  </a:cubicBezTo>
                  <a:cubicBezTo>
                    <a:pt x="169" y="109"/>
                    <a:pt x="174" y="110"/>
                    <a:pt x="180" y="112"/>
                  </a:cubicBezTo>
                  <a:cubicBezTo>
                    <a:pt x="175" y="116"/>
                    <a:pt x="170" y="118"/>
                    <a:pt x="166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7880" tIns="43940" rIns="87880" bIns="439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50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3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MS PGothic" charset="0"/>
              </a:endParaRPr>
            </a:p>
          </p:txBody>
        </p:sp>
      </p:grpSp>
      <p:grpSp>
        <p:nvGrpSpPr>
          <p:cNvPr id="122" name="Group 10"/>
          <p:cNvGrpSpPr/>
          <p:nvPr/>
        </p:nvGrpSpPr>
        <p:grpSpPr>
          <a:xfrm>
            <a:off x="471803" y="3600284"/>
            <a:ext cx="3609289" cy="2541917"/>
            <a:chOff x="481263" y="3671980"/>
            <a:chExt cx="3681663" cy="2592888"/>
          </a:xfrm>
        </p:grpSpPr>
        <p:sp>
          <p:nvSpPr>
            <p:cNvPr id="123" name="Rectangle 68"/>
            <p:cNvSpPr/>
            <p:nvPr/>
          </p:nvSpPr>
          <p:spPr bwMode="auto">
            <a:xfrm>
              <a:off x="481263" y="3671980"/>
              <a:ext cx="3681663" cy="2592888"/>
            </a:xfrm>
            <a:prstGeom prst="rect">
              <a:avLst/>
            </a:prstGeom>
            <a:solidFill>
              <a:srgbClr val="0072C6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162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45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56637">
                        <a:srgbClr val="FFFFFF"/>
                      </a:gs>
                      <a:gs pos="11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MS PGothic" charset="0"/>
                </a:rPr>
                <a:t>Data Volumes</a:t>
              </a:r>
            </a:p>
          </p:txBody>
        </p:sp>
        <p:grpSp>
          <p:nvGrpSpPr>
            <p:cNvPr id="124" name="Group 5"/>
            <p:cNvGrpSpPr/>
            <p:nvPr/>
          </p:nvGrpSpPr>
          <p:grpSpPr>
            <a:xfrm>
              <a:off x="1196185" y="4691063"/>
              <a:ext cx="2251818" cy="892844"/>
              <a:chOff x="1592026" y="4878318"/>
              <a:chExt cx="1472821" cy="583972"/>
            </a:xfrm>
          </p:grpSpPr>
          <p:sp>
            <p:nvSpPr>
              <p:cNvPr id="125" name="Right Arrow 78"/>
              <p:cNvSpPr/>
              <p:nvPr/>
            </p:nvSpPr>
            <p:spPr bwMode="auto">
              <a:xfrm rot="16200000">
                <a:off x="2475089" y="4872532"/>
                <a:ext cx="583972" cy="595544"/>
              </a:xfrm>
              <a:prstGeom prst="rightArrow">
                <a:avLst>
                  <a:gd name="adj1" fmla="val 43703"/>
                  <a:gd name="adj2" fmla="val 49792"/>
                </a:avLst>
              </a:prstGeom>
              <a:solidFill>
                <a:srgbClr val="FFFFFF"/>
              </a:solidFill>
              <a:ln w="34925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5761" tIns="140609" rIns="175761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78438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22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1250">
                        <a:srgbClr val="FFFFFF"/>
                      </a:gs>
                      <a:gs pos="1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26" name="Group 80"/>
              <p:cNvGrpSpPr/>
              <p:nvPr/>
            </p:nvGrpSpPr>
            <p:grpSpPr>
              <a:xfrm>
                <a:off x="1592026" y="4894432"/>
                <a:ext cx="316629" cy="432723"/>
                <a:chOff x="1752324" y="1886856"/>
                <a:chExt cx="316629" cy="432723"/>
              </a:xfrm>
            </p:grpSpPr>
            <p:sp>
              <p:nvSpPr>
                <p:cNvPr id="132" name="Freeform 81"/>
                <p:cNvSpPr/>
                <p:nvPr/>
              </p:nvSpPr>
              <p:spPr>
                <a:xfrm>
                  <a:off x="1752324" y="1886856"/>
                  <a:ext cx="316629" cy="432723"/>
                </a:xfrm>
                <a:custGeom>
                  <a:avLst/>
                  <a:gdLst>
                    <a:gd name="connsiteX0" fmla="*/ 328000 w 656000"/>
                    <a:gd name="connsiteY0" fmla="*/ 0 h 1195540"/>
                    <a:gd name="connsiteX1" fmla="*/ 649336 w 656000"/>
                    <a:gd name="connsiteY1" fmla="*/ 112180 h 1195540"/>
                    <a:gd name="connsiteX2" fmla="*/ 655412 w 656000"/>
                    <a:gd name="connsiteY2" fmla="*/ 137993 h 1195540"/>
                    <a:gd name="connsiteX3" fmla="*/ 656000 w 656000"/>
                    <a:gd name="connsiteY3" fmla="*/ 137993 h 1195540"/>
                    <a:gd name="connsiteX4" fmla="*/ 656000 w 656000"/>
                    <a:gd name="connsiteY4" fmla="*/ 140494 h 1195540"/>
                    <a:gd name="connsiteX5" fmla="*/ 656000 w 656000"/>
                    <a:gd name="connsiteY5" fmla="*/ 1055046 h 1195540"/>
                    <a:gd name="connsiteX6" fmla="*/ 328000 w 656000"/>
                    <a:gd name="connsiteY6" fmla="*/ 1195540 h 1195540"/>
                    <a:gd name="connsiteX7" fmla="*/ 0 w 656000"/>
                    <a:gd name="connsiteY7" fmla="*/ 1055046 h 1195540"/>
                    <a:gd name="connsiteX8" fmla="*/ 0 w 656000"/>
                    <a:gd name="connsiteY8" fmla="*/ 140494 h 1195540"/>
                    <a:gd name="connsiteX9" fmla="*/ 0 w 656000"/>
                    <a:gd name="connsiteY9" fmla="*/ 137993 h 1195540"/>
                    <a:gd name="connsiteX10" fmla="*/ 589 w 656000"/>
                    <a:gd name="connsiteY10" fmla="*/ 137993 h 1195540"/>
                    <a:gd name="connsiteX11" fmla="*/ 6664 w 656000"/>
                    <a:gd name="connsiteY11" fmla="*/ 112180 h 1195540"/>
                    <a:gd name="connsiteX12" fmla="*/ 328000 w 656000"/>
                    <a:gd name="connsiteY12" fmla="*/ 0 h 1195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56000" h="1195540">
                      <a:moveTo>
                        <a:pt x="328000" y="0"/>
                      </a:moveTo>
                      <a:cubicBezTo>
                        <a:pt x="486505" y="0"/>
                        <a:pt x="618751" y="48159"/>
                        <a:pt x="649336" y="112180"/>
                      </a:cubicBezTo>
                      <a:lnTo>
                        <a:pt x="655412" y="137993"/>
                      </a:lnTo>
                      <a:lnTo>
                        <a:pt x="656000" y="137993"/>
                      </a:lnTo>
                      <a:lnTo>
                        <a:pt x="656000" y="140494"/>
                      </a:lnTo>
                      <a:lnTo>
                        <a:pt x="656000" y="1055046"/>
                      </a:lnTo>
                      <a:cubicBezTo>
                        <a:pt x="656000" y="1132639"/>
                        <a:pt x="509149" y="1195540"/>
                        <a:pt x="328000" y="1195540"/>
                      </a:cubicBezTo>
                      <a:cubicBezTo>
                        <a:pt x="146851" y="1195540"/>
                        <a:pt x="0" y="1132639"/>
                        <a:pt x="0" y="1055046"/>
                      </a:cubicBezTo>
                      <a:lnTo>
                        <a:pt x="0" y="140494"/>
                      </a:lnTo>
                      <a:lnTo>
                        <a:pt x="0" y="137993"/>
                      </a:lnTo>
                      <a:lnTo>
                        <a:pt x="589" y="137993"/>
                      </a:lnTo>
                      <a:lnTo>
                        <a:pt x="6664" y="112180"/>
                      </a:lnTo>
                      <a:cubicBezTo>
                        <a:pt x="37249" y="48159"/>
                        <a:pt x="169495" y="0"/>
                        <a:pt x="3280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505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Oval 82"/>
                <p:cNvSpPr/>
                <p:nvPr/>
              </p:nvSpPr>
              <p:spPr>
                <a:xfrm>
                  <a:off x="1778572" y="1907262"/>
                  <a:ext cx="257076" cy="86029"/>
                </a:xfrm>
                <a:prstGeom prst="ellipse">
                  <a:avLst/>
                </a:prstGeom>
                <a:solidFill>
                  <a:srgbClr val="0072C6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505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7" name="Group 83"/>
              <p:cNvGrpSpPr/>
              <p:nvPr/>
            </p:nvGrpSpPr>
            <p:grpSpPr>
              <a:xfrm>
                <a:off x="1952646" y="4894431"/>
                <a:ext cx="316629" cy="432723"/>
                <a:chOff x="1752324" y="1886856"/>
                <a:chExt cx="316629" cy="432723"/>
              </a:xfrm>
            </p:grpSpPr>
            <p:sp>
              <p:nvSpPr>
                <p:cNvPr id="130" name="Freeform 84"/>
                <p:cNvSpPr/>
                <p:nvPr/>
              </p:nvSpPr>
              <p:spPr>
                <a:xfrm>
                  <a:off x="1752324" y="1886856"/>
                  <a:ext cx="316629" cy="432723"/>
                </a:xfrm>
                <a:custGeom>
                  <a:avLst/>
                  <a:gdLst>
                    <a:gd name="connsiteX0" fmla="*/ 328000 w 656000"/>
                    <a:gd name="connsiteY0" fmla="*/ 0 h 1195540"/>
                    <a:gd name="connsiteX1" fmla="*/ 649336 w 656000"/>
                    <a:gd name="connsiteY1" fmla="*/ 112180 h 1195540"/>
                    <a:gd name="connsiteX2" fmla="*/ 655412 w 656000"/>
                    <a:gd name="connsiteY2" fmla="*/ 137993 h 1195540"/>
                    <a:gd name="connsiteX3" fmla="*/ 656000 w 656000"/>
                    <a:gd name="connsiteY3" fmla="*/ 137993 h 1195540"/>
                    <a:gd name="connsiteX4" fmla="*/ 656000 w 656000"/>
                    <a:gd name="connsiteY4" fmla="*/ 140494 h 1195540"/>
                    <a:gd name="connsiteX5" fmla="*/ 656000 w 656000"/>
                    <a:gd name="connsiteY5" fmla="*/ 1055046 h 1195540"/>
                    <a:gd name="connsiteX6" fmla="*/ 328000 w 656000"/>
                    <a:gd name="connsiteY6" fmla="*/ 1195540 h 1195540"/>
                    <a:gd name="connsiteX7" fmla="*/ 0 w 656000"/>
                    <a:gd name="connsiteY7" fmla="*/ 1055046 h 1195540"/>
                    <a:gd name="connsiteX8" fmla="*/ 0 w 656000"/>
                    <a:gd name="connsiteY8" fmla="*/ 140494 h 1195540"/>
                    <a:gd name="connsiteX9" fmla="*/ 0 w 656000"/>
                    <a:gd name="connsiteY9" fmla="*/ 137993 h 1195540"/>
                    <a:gd name="connsiteX10" fmla="*/ 589 w 656000"/>
                    <a:gd name="connsiteY10" fmla="*/ 137993 h 1195540"/>
                    <a:gd name="connsiteX11" fmla="*/ 6664 w 656000"/>
                    <a:gd name="connsiteY11" fmla="*/ 112180 h 1195540"/>
                    <a:gd name="connsiteX12" fmla="*/ 328000 w 656000"/>
                    <a:gd name="connsiteY12" fmla="*/ 0 h 1195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56000" h="1195540">
                      <a:moveTo>
                        <a:pt x="328000" y="0"/>
                      </a:moveTo>
                      <a:cubicBezTo>
                        <a:pt x="486505" y="0"/>
                        <a:pt x="618751" y="48159"/>
                        <a:pt x="649336" y="112180"/>
                      </a:cubicBezTo>
                      <a:lnTo>
                        <a:pt x="655412" y="137993"/>
                      </a:lnTo>
                      <a:lnTo>
                        <a:pt x="656000" y="137993"/>
                      </a:lnTo>
                      <a:lnTo>
                        <a:pt x="656000" y="140494"/>
                      </a:lnTo>
                      <a:lnTo>
                        <a:pt x="656000" y="1055046"/>
                      </a:lnTo>
                      <a:cubicBezTo>
                        <a:pt x="656000" y="1132639"/>
                        <a:pt x="509149" y="1195540"/>
                        <a:pt x="328000" y="1195540"/>
                      </a:cubicBezTo>
                      <a:cubicBezTo>
                        <a:pt x="146851" y="1195540"/>
                        <a:pt x="0" y="1132639"/>
                        <a:pt x="0" y="1055046"/>
                      </a:cubicBezTo>
                      <a:lnTo>
                        <a:pt x="0" y="140494"/>
                      </a:lnTo>
                      <a:lnTo>
                        <a:pt x="0" y="137993"/>
                      </a:lnTo>
                      <a:lnTo>
                        <a:pt x="589" y="137993"/>
                      </a:lnTo>
                      <a:lnTo>
                        <a:pt x="6664" y="112180"/>
                      </a:lnTo>
                      <a:cubicBezTo>
                        <a:pt x="37249" y="48159"/>
                        <a:pt x="169495" y="0"/>
                        <a:pt x="3280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505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Oval 85"/>
                <p:cNvSpPr/>
                <p:nvPr/>
              </p:nvSpPr>
              <p:spPr>
                <a:xfrm>
                  <a:off x="1778572" y="1907262"/>
                  <a:ext cx="257076" cy="86029"/>
                </a:xfrm>
                <a:prstGeom prst="ellipse">
                  <a:avLst/>
                </a:prstGeom>
                <a:solidFill>
                  <a:srgbClr val="0072C6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505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8" name="Freeform 86"/>
              <p:cNvSpPr/>
              <p:nvPr/>
            </p:nvSpPr>
            <p:spPr>
              <a:xfrm>
                <a:off x="1772637" y="5025821"/>
                <a:ext cx="316629" cy="432723"/>
              </a:xfrm>
              <a:custGeom>
                <a:avLst/>
                <a:gdLst>
                  <a:gd name="connsiteX0" fmla="*/ 328000 w 656000"/>
                  <a:gd name="connsiteY0" fmla="*/ 0 h 1195540"/>
                  <a:gd name="connsiteX1" fmla="*/ 649336 w 656000"/>
                  <a:gd name="connsiteY1" fmla="*/ 112180 h 1195540"/>
                  <a:gd name="connsiteX2" fmla="*/ 655412 w 656000"/>
                  <a:gd name="connsiteY2" fmla="*/ 137993 h 1195540"/>
                  <a:gd name="connsiteX3" fmla="*/ 656000 w 656000"/>
                  <a:gd name="connsiteY3" fmla="*/ 137993 h 1195540"/>
                  <a:gd name="connsiteX4" fmla="*/ 656000 w 656000"/>
                  <a:gd name="connsiteY4" fmla="*/ 140494 h 1195540"/>
                  <a:gd name="connsiteX5" fmla="*/ 656000 w 656000"/>
                  <a:gd name="connsiteY5" fmla="*/ 1055046 h 1195540"/>
                  <a:gd name="connsiteX6" fmla="*/ 328000 w 656000"/>
                  <a:gd name="connsiteY6" fmla="*/ 1195540 h 1195540"/>
                  <a:gd name="connsiteX7" fmla="*/ 0 w 656000"/>
                  <a:gd name="connsiteY7" fmla="*/ 1055046 h 1195540"/>
                  <a:gd name="connsiteX8" fmla="*/ 0 w 656000"/>
                  <a:gd name="connsiteY8" fmla="*/ 140494 h 1195540"/>
                  <a:gd name="connsiteX9" fmla="*/ 0 w 656000"/>
                  <a:gd name="connsiteY9" fmla="*/ 137993 h 1195540"/>
                  <a:gd name="connsiteX10" fmla="*/ 589 w 656000"/>
                  <a:gd name="connsiteY10" fmla="*/ 137993 h 1195540"/>
                  <a:gd name="connsiteX11" fmla="*/ 6664 w 656000"/>
                  <a:gd name="connsiteY11" fmla="*/ 112180 h 1195540"/>
                  <a:gd name="connsiteX12" fmla="*/ 328000 w 656000"/>
                  <a:gd name="connsiteY12" fmla="*/ 0 h 1195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56000" h="1195540">
                    <a:moveTo>
                      <a:pt x="328000" y="0"/>
                    </a:moveTo>
                    <a:cubicBezTo>
                      <a:pt x="486505" y="0"/>
                      <a:pt x="618751" y="48159"/>
                      <a:pt x="649336" y="112180"/>
                    </a:cubicBezTo>
                    <a:lnTo>
                      <a:pt x="655412" y="137993"/>
                    </a:lnTo>
                    <a:lnTo>
                      <a:pt x="656000" y="137993"/>
                    </a:lnTo>
                    <a:lnTo>
                      <a:pt x="656000" y="140494"/>
                    </a:lnTo>
                    <a:lnTo>
                      <a:pt x="656000" y="1055046"/>
                    </a:lnTo>
                    <a:cubicBezTo>
                      <a:pt x="656000" y="1132639"/>
                      <a:pt x="509149" y="1195540"/>
                      <a:pt x="328000" y="1195540"/>
                    </a:cubicBezTo>
                    <a:cubicBezTo>
                      <a:pt x="146851" y="1195540"/>
                      <a:pt x="0" y="1132639"/>
                      <a:pt x="0" y="1055046"/>
                    </a:cubicBezTo>
                    <a:lnTo>
                      <a:pt x="0" y="140494"/>
                    </a:lnTo>
                    <a:lnTo>
                      <a:pt x="0" y="137993"/>
                    </a:lnTo>
                    <a:lnTo>
                      <a:pt x="589" y="137993"/>
                    </a:lnTo>
                    <a:lnTo>
                      <a:pt x="6664" y="112180"/>
                    </a:lnTo>
                    <a:cubicBezTo>
                      <a:pt x="37249" y="48159"/>
                      <a:pt x="169495" y="0"/>
                      <a:pt x="3280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5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9" name="Oval 87"/>
              <p:cNvSpPr/>
              <p:nvPr/>
            </p:nvSpPr>
            <p:spPr>
              <a:xfrm>
                <a:off x="1817924" y="5057273"/>
                <a:ext cx="257076" cy="86029"/>
              </a:xfrm>
              <a:prstGeom prst="ellipse">
                <a:avLst/>
              </a:prstGeom>
              <a:solidFill>
                <a:srgbClr val="0072C6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50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4" name="Group 9"/>
          <p:cNvGrpSpPr/>
          <p:nvPr/>
        </p:nvGrpSpPr>
        <p:grpSpPr>
          <a:xfrm>
            <a:off x="4275712" y="3600284"/>
            <a:ext cx="3609289" cy="2541917"/>
            <a:chOff x="4361448" y="3671980"/>
            <a:chExt cx="3681663" cy="2592888"/>
          </a:xfrm>
        </p:grpSpPr>
        <p:sp>
          <p:nvSpPr>
            <p:cNvPr id="135" name="Rectangle 69"/>
            <p:cNvSpPr/>
            <p:nvPr/>
          </p:nvSpPr>
          <p:spPr bwMode="auto">
            <a:xfrm>
              <a:off x="4361448" y="3671980"/>
              <a:ext cx="3681663" cy="2592888"/>
            </a:xfrm>
            <a:prstGeom prst="rect">
              <a:avLst/>
            </a:prstGeom>
            <a:solidFill>
              <a:srgbClr val="0072C6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162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45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56637">
                        <a:srgbClr val="FFFFFF"/>
                      </a:gs>
                      <a:gs pos="11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MS PGothic" charset="0"/>
                </a:rPr>
                <a:t>Data Variety</a:t>
              </a:r>
            </a:p>
          </p:txBody>
        </p:sp>
        <p:grpSp>
          <p:nvGrpSpPr>
            <p:cNvPr id="136" name="Group 6"/>
            <p:cNvGrpSpPr/>
            <p:nvPr/>
          </p:nvGrpSpPr>
          <p:grpSpPr>
            <a:xfrm>
              <a:off x="4752136" y="4746892"/>
              <a:ext cx="2900286" cy="698235"/>
              <a:chOff x="5382052" y="4714853"/>
              <a:chExt cx="1476738" cy="355519"/>
            </a:xfrm>
          </p:grpSpPr>
          <p:sp>
            <p:nvSpPr>
              <p:cNvPr id="137" name="Rounded Rectangle 6"/>
              <p:cNvSpPr>
                <a:spLocks noChangeAspect="1"/>
              </p:cNvSpPr>
              <p:nvPr/>
            </p:nvSpPr>
            <p:spPr bwMode="black">
              <a:xfrm rot="16200000">
                <a:off x="5442576" y="4667504"/>
                <a:ext cx="289825" cy="410873"/>
              </a:xfrm>
              <a:custGeom>
                <a:avLst/>
                <a:gdLst/>
                <a:ahLst/>
                <a:cxnLst/>
                <a:rect l="l" t="t" r="r" b="b"/>
                <a:pathLst>
                  <a:path w="3286897" h="4658497">
                    <a:moveTo>
                      <a:pt x="1600200" y="4382531"/>
                    </a:moveTo>
                    <a:cubicBezTo>
                      <a:pt x="1600200" y="4367744"/>
                      <a:pt x="1588213" y="4355757"/>
                      <a:pt x="1573426" y="4355757"/>
                    </a:cubicBezTo>
                    <a:lnTo>
                      <a:pt x="811428" y="4355757"/>
                    </a:lnTo>
                    <a:cubicBezTo>
                      <a:pt x="796641" y="4355757"/>
                      <a:pt x="784654" y="4367744"/>
                      <a:pt x="784654" y="4382531"/>
                    </a:cubicBezTo>
                    <a:lnTo>
                      <a:pt x="784654" y="4489621"/>
                    </a:lnTo>
                    <a:cubicBezTo>
                      <a:pt x="784654" y="4504408"/>
                      <a:pt x="796641" y="4516395"/>
                      <a:pt x="811428" y="4516395"/>
                    </a:cubicBezTo>
                    <a:lnTo>
                      <a:pt x="1573426" y="4516395"/>
                    </a:lnTo>
                    <a:cubicBezTo>
                      <a:pt x="1588213" y="4516395"/>
                      <a:pt x="1600200" y="4504408"/>
                      <a:pt x="1600200" y="4489621"/>
                    </a:cubicBezTo>
                    <a:close/>
                    <a:moveTo>
                      <a:pt x="2502243" y="4382531"/>
                    </a:moveTo>
                    <a:cubicBezTo>
                      <a:pt x="2502243" y="4367744"/>
                      <a:pt x="2490256" y="4355757"/>
                      <a:pt x="2475469" y="4355757"/>
                    </a:cubicBezTo>
                    <a:lnTo>
                      <a:pt x="1713471" y="4355757"/>
                    </a:lnTo>
                    <a:cubicBezTo>
                      <a:pt x="1698684" y="4355757"/>
                      <a:pt x="1686697" y="4367744"/>
                      <a:pt x="1686697" y="4382531"/>
                    </a:cubicBezTo>
                    <a:lnTo>
                      <a:pt x="1686697" y="4489621"/>
                    </a:lnTo>
                    <a:cubicBezTo>
                      <a:pt x="1686697" y="4504408"/>
                      <a:pt x="1698684" y="4516395"/>
                      <a:pt x="1713471" y="4516395"/>
                    </a:cubicBezTo>
                    <a:lnTo>
                      <a:pt x="2475469" y="4516395"/>
                    </a:lnTo>
                    <a:cubicBezTo>
                      <a:pt x="2490256" y="4516395"/>
                      <a:pt x="2502243" y="4504408"/>
                      <a:pt x="2502243" y="4489621"/>
                    </a:cubicBezTo>
                    <a:close/>
                    <a:moveTo>
                      <a:pt x="3021231" y="480896"/>
                    </a:moveTo>
                    <a:cubicBezTo>
                      <a:pt x="3021231" y="375524"/>
                      <a:pt x="2935811" y="290104"/>
                      <a:pt x="2830439" y="290104"/>
                    </a:cubicBezTo>
                    <a:lnTo>
                      <a:pt x="444108" y="290104"/>
                    </a:lnTo>
                    <a:cubicBezTo>
                      <a:pt x="338736" y="290104"/>
                      <a:pt x="253316" y="375524"/>
                      <a:pt x="253316" y="480896"/>
                    </a:cubicBezTo>
                    <a:lnTo>
                      <a:pt x="253316" y="4029043"/>
                    </a:lnTo>
                    <a:cubicBezTo>
                      <a:pt x="253316" y="4134415"/>
                      <a:pt x="338736" y="4219835"/>
                      <a:pt x="444108" y="4219835"/>
                    </a:cubicBezTo>
                    <a:lnTo>
                      <a:pt x="2830439" y="4219835"/>
                    </a:lnTo>
                    <a:cubicBezTo>
                      <a:pt x="2935811" y="4219835"/>
                      <a:pt x="3021231" y="4134415"/>
                      <a:pt x="3021231" y="4029043"/>
                    </a:cubicBezTo>
                    <a:close/>
                    <a:moveTo>
                      <a:pt x="3286897" y="226566"/>
                    </a:moveTo>
                    <a:lnTo>
                      <a:pt x="3286897" y="4431931"/>
                    </a:lnTo>
                    <a:cubicBezTo>
                      <a:pt x="3286897" y="4557060"/>
                      <a:pt x="3185460" y="4658497"/>
                      <a:pt x="3060331" y="4658497"/>
                    </a:cubicBezTo>
                    <a:lnTo>
                      <a:pt x="226566" y="4658497"/>
                    </a:lnTo>
                    <a:cubicBezTo>
                      <a:pt x="101437" y="4658497"/>
                      <a:pt x="0" y="4557060"/>
                      <a:pt x="0" y="4431931"/>
                    </a:cubicBezTo>
                    <a:lnTo>
                      <a:pt x="0" y="226566"/>
                    </a:lnTo>
                    <a:cubicBezTo>
                      <a:pt x="0" y="101437"/>
                      <a:pt x="101437" y="0"/>
                      <a:pt x="226566" y="0"/>
                    </a:cubicBezTo>
                    <a:lnTo>
                      <a:pt x="3060331" y="0"/>
                    </a:lnTo>
                    <a:cubicBezTo>
                      <a:pt x="3185460" y="0"/>
                      <a:pt x="3286897" y="101437"/>
                      <a:pt x="3286897" y="2265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80684" tIns="40342" rIns="80684" bIns="40342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614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-12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38" name="Freeform 6"/>
              <p:cNvSpPr>
                <a:spLocks noEditPoints="1"/>
              </p:cNvSpPr>
              <p:nvPr/>
            </p:nvSpPr>
            <p:spPr bwMode="auto">
              <a:xfrm rot="5400000">
                <a:off x="5492007" y="4727161"/>
                <a:ext cx="190964" cy="291561"/>
              </a:xfrm>
              <a:custGeom>
                <a:avLst/>
                <a:gdLst>
                  <a:gd name="T0" fmla="*/ 448 w 448"/>
                  <a:gd name="T1" fmla="*/ 0 h 684"/>
                  <a:gd name="T2" fmla="*/ 448 w 448"/>
                  <a:gd name="T3" fmla="*/ 207 h 684"/>
                  <a:gd name="T4" fmla="*/ 241 w 448"/>
                  <a:gd name="T5" fmla="*/ 207 h 684"/>
                  <a:gd name="T6" fmla="*/ 241 w 448"/>
                  <a:gd name="T7" fmla="*/ 0 h 684"/>
                  <a:gd name="T8" fmla="*/ 448 w 448"/>
                  <a:gd name="T9" fmla="*/ 0 h 684"/>
                  <a:gd name="T10" fmla="*/ 241 w 448"/>
                  <a:gd name="T11" fmla="*/ 238 h 684"/>
                  <a:gd name="T12" fmla="*/ 241 w 448"/>
                  <a:gd name="T13" fmla="*/ 446 h 684"/>
                  <a:gd name="T14" fmla="*/ 448 w 448"/>
                  <a:gd name="T15" fmla="*/ 446 h 684"/>
                  <a:gd name="T16" fmla="*/ 448 w 448"/>
                  <a:gd name="T17" fmla="*/ 238 h 684"/>
                  <a:gd name="T18" fmla="*/ 241 w 448"/>
                  <a:gd name="T19" fmla="*/ 238 h 684"/>
                  <a:gd name="T20" fmla="*/ 0 w 448"/>
                  <a:gd name="T21" fmla="*/ 0 h 684"/>
                  <a:gd name="T22" fmla="*/ 0 w 448"/>
                  <a:gd name="T23" fmla="*/ 207 h 684"/>
                  <a:gd name="T24" fmla="*/ 210 w 448"/>
                  <a:gd name="T25" fmla="*/ 207 h 684"/>
                  <a:gd name="T26" fmla="*/ 210 w 448"/>
                  <a:gd name="T27" fmla="*/ 0 h 684"/>
                  <a:gd name="T28" fmla="*/ 0 w 448"/>
                  <a:gd name="T29" fmla="*/ 0 h 684"/>
                  <a:gd name="T30" fmla="*/ 0 w 448"/>
                  <a:gd name="T31" fmla="*/ 238 h 684"/>
                  <a:gd name="T32" fmla="*/ 0 w 448"/>
                  <a:gd name="T33" fmla="*/ 446 h 684"/>
                  <a:gd name="T34" fmla="*/ 210 w 448"/>
                  <a:gd name="T35" fmla="*/ 446 h 684"/>
                  <a:gd name="T36" fmla="*/ 210 w 448"/>
                  <a:gd name="T37" fmla="*/ 238 h 684"/>
                  <a:gd name="T38" fmla="*/ 0 w 448"/>
                  <a:gd name="T39" fmla="*/ 238 h 684"/>
                  <a:gd name="T40" fmla="*/ 0 w 448"/>
                  <a:gd name="T41" fmla="*/ 477 h 684"/>
                  <a:gd name="T42" fmla="*/ 0 w 448"/>
                  <a:gd name="T43" fmla="*/ 684 h 684"/>
                  <a:gd name="T44" fmla="*/ 448 w 448"/>
                  <a:gd name="T45" fmla="*/ 684 h 684"/>
                  <a:gd name="T46" fmla="*/ 448 w 448"/>
                  <a:gd name="T47" fmla="*/ 477 h 684"/>
                  <a:gd name="T48" fmla="*/ 0 w 448"/>
                  <a:gd name="T49" fmla="*/ 477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48" h="684">
                    <a:moveTo>
                      <a:pt x="448" y="0"/>
                    </a:moveTo>
                    <a:lnTo>
                      <a:pt x="448" y="207"/>
                    </a:lnTo>
                    <a:lnTo>
                      <a:pt x="241" y="207"/>
                    </a:lnTo>
                    <a:lnTo>
                      <a:pt x="241" y="0"/>
                    </a:lnTo>
                    <a:lnTo>
                      <a:pt x="448" y="0"/>
                    </a:lnTo>
                    <a:close/>
                    <a:moveTo>
                      <a:pt x="241" y="238"/>
                    </a:moveTo>
                    <a:lnTo>
                      <a:pt x="241" y="446"/>
                    </a:lnTo>
                    <a:lnTo>
                      <a:pt x="448" y="446"/>
                    </a:lnTo>
                    <a:lnTo>
                      <a:pt x="448" y="238"/>
                    </a:lnTo>
                    <a:lnTo>
                      <a:pt x="241" y="238"/>
                    </a:lnTo>
                    <a:close/>
                    <a:moveTo>
                      <a:pt x="0" y="0"/>
                    </a:moveTo>
                    <a:lnTo>
                      <a:pt x="0" y="207"/>
                    </a:lnTo>
                    <a:lnTo>
                      <a:pt x="210" y="207"/>
                    </a:lnTo>
                    <a:lnTo>
                      <a:pt x="210" y="0"/>
                    </a:lnTo>
                    <a:lnTo>
                      <a:pt x="0" y="0"/>
                    </a:lnTo>
                    <a:close/>
                    <a:moveTo>
                      <a:pt x="0" y="238"/>
                    </a:moveTo>
                    <a:lnTo>
                      <a:pt x="0" y="446"/>
                    </a:lnTo>
                    <a:lnTo>
                      <a:pt x="210" y="446"/>
                    </a:lnTo>
                    <a:lnTo>
                      <a:pt x="210" y="238"/>
                    </a:lnTo>
                    <a:lnTo>
                      <a:pt x="0" y="238"/>
                    </a:lnTo>
                    <a:close/>
                    <a:moveTo>
                      <a:pt x="0" y="477"/>
                    </a:moveTo>
                    <a:lnTo>
                      <a:pt x="0" y="684"/>
                    </a:lnTo>
                    <a:lnTo>
                      <a:pt x="448" y="684"/>
                    </a:lnTo>
                    <a:lnTo>
                      <a:pt x="448" y="477"/>
                    </a:lnTo>
                    <a:lnTo>
                      <a:pt x="0" y="4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9639" tIns="44820" rIns="89639" bIns="448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17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MS PGothic" charset="0"/>
                </a:endParaRPr>
              </a:p>
            </p:txBody>
          </p:sp>
          <p:sp>
            <p:nvSpPr>
              <p:cNvPr id="139" name="Freeform 30"/>
              <p:cNvSpPr>
                <a:spLocks noChangeAspect="1" noEditPoints="1"/>
              </p:cNvSpPr>
              <p:nvPr/>
            </p:nvSpPr>
            <p:spPr bwMode="auto">
              <a:xfrm>
                <a:off x="5975680" y="4727662"/>
                <a:ext cx="291077" cy="342710"/>
              </a:xfrm>
              <a:custGeom>
                <a:avLst/>
                <a:gdLst>
                  <a:gd name="T0" fmla="*/ 115 w 191"/>
                  <a:gd name="T1" fmla="*/ 158 h 225"/>
                  <a:gd name="T2" fmla="*/ 132 w 191"/>
                  <a:gd name="T3" fmla="*/ 185 h 225"/>
                  <a:gd name="T4" fmla="*/ 21 w 191"/>
                  <a:gd name="T5" fmla="*/ 185 h 225"/>
                  <a:gd name="T6" fmla="*/ 0 w 191"/>
                  <a:gd name="T7" fmla="*/ 164 h 225"/>
                  <a:gd name="T8" fmla="*/ 0 w 191"/>
                  <a:gd name="T9" fmla="*/ 21 h 225"/>
                  <a:gd name="T10" fmla="*/ 21 w 191"/>
                  <a:gd name="T11" fmla="*/ 0 h 225"/>
                  <a:gd name="T12" fmla="*/ 163 w 191"/>
                  <a:gd name="T13" fmla="*/ 0 h 225"/>
                  <a:gd name="T14" fmla="*/ 185 w 191"/>
                  <a:gd name="T15" fmla="*/ 21 h 225"/>
                  <a:gd name="T16" fmla="*/ 185 w 191"/>
                  <a:gd name="T17" fmla="*/ 164 h 225"/>
                  <a:gd name="T18" fmla="*/ 181 w 191"/>
                  <a:gd name="T19" fmla="*/ 175 h 225"/>
                  <a:gd name="T20" fmla="*/ 154 w 191"/>
                  <a:gd name="T21" fmla="*/ 133 h 225"/>
                  <a:gd name="T22" fmla="*/ 157 w 191"/>
                  <a:gd name="T23" fmla="*/ 63 h 225"/>
                  <a:gd name="T24" fmla="*/ 70 w 191"/>
                  <a:gd name="T25" fmla="*/ 43 h 225"/>
                  <a:gd name="T26" fmla="*/ 51 w 191"/>
                  <a:gd name="T27" fmla="*/ 130 h 225"/>
                  <a:gd name="T28" fmla="*/ 115 w 191"/>
                  <a:gd name="T29" fmla="*/ 158 h 225"/>
                  <a:gd name="T30" fmla="*/ 183 w 191"/>
                  <a:gd name="T31" fmla="*/ 221 h 225"/>
                  <a:gd name="T32" fmla="*/ 165 w 191"/>
                  <a:gd name="T33" fmla="*/ 217 h 225"/>
                  <a:gd name="T34" fmla="*/ 120 w 191"/>
                  <a:gd name="T35" fmla="*/ 146 h 225"/>
                  <a:gd name="T36" fmla="*/ 59 w 191"/>
                  <a:gd name="T37" fmla="*/ 124 h 225"/>
                  <a:gd name="T38" fmla="*/ 75 w 191"/>
                  <a:gd name="T39" fmla="*/ 52 h 225"/>
                  <a:gd name="T40" fmla="*/ 148 w 191"/>
                  <a:gd name="T41" fmla="*/ 68 h 225"/>
                  <a:gd name="T42" fmla="*/ 142 w 191"/>
                  <a:gd name="T43" fmla="*/ 132 h 225"/>
                  <a:gd name="T44" fmla="*/ 187 w 191"/>
                  <a:gd name="T45" fmla="*/ 203 h 225"/>
                  <a:gd name="T46" fmla="*/ 183 w 191"/>
                  <a:gd name="T47" fmla="*/ 221 h 225"/>
                  <a:gd name="T48" fmla="*/ 144 w 191"/>
                  <a:gd name="T49" fmla="*/ 71 h 225"/>
                  <a:gd name="T50" fmla="*/ 78 w 191"/>
                  <a:gd name="T51" fmla="*/ 56 h 225"/>
                  <a:gd name="T52" fmla="*/ 64 w 191"/>
                  <a:gd name="T53" fmla="*/ 122 h 225"/>
                  <a:gd name="T54" fmla="*/ 129 w 191"/>
                  <a:gd name="T55" fmla="*/ 136 h 225"/>
                  <a:gd name="T56" fmla="*/ 144 w 191"/>
                  <a:gd name="T57" fmla="*/ 7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1" h="225">
                    <a:moveTo>
                      <a:pt x="115" y="158"/>
                    </a:moveTo>
                    <a:cubicBezTo>
                      <a:pt x="132" y="185"/>
                      <a:pt x="132" y="185"/>
                      <a:pt x="132" y="185"/>
                    </a:cubicBezTo>
                    <a:cubicBezTo>
                      <a:pt x="21" y="185"/>
                      <a:pt x="21" y="185"/>
                      <a:pt x="21" y="185"/>
                    </a:cubicBezTo>
                    <a:cubicBezTo>
                      <a:pt x="9" y="185"/>
                      <a:pt x="0" y="175"/>
                      <a:pt x="0" y="16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75" y="0"/>
                      <a:pt x="185" y="9"/>
                      <a:pt x="185" y="21"/>
                    </a:cubicBezTo>
                    <a:cubicBezTo>
                      <a:pt x="185" y="164"/>
                      <a:pt x="185" y="164"/>
                      <a:pt x="185" y="164"/>
                    </a:cubicBezTo>
                    <a:cubicBezTo>
                      <a:pt x="185" y="168"/>
                      <a:pt x="183" y="172"/>
                      <a:pt x="181" y="175"/>
                    </a:cubicBezTo>
                    <a:cubicBezTo>
                      <a:pt x="154" y="133"/>
                      <a:pt x="154" y="133"/>
                      <a:pt x="154" y="133"/>
                    </a:cubicBezTo>
                    <a:cubicBezTo>
                      <a:pt x="169" y="112"/>
                      <a:pt x="170" y="84"/>
                      <a:pt x="157" y="63"/>
                    </a:cubicBezTo>
                    <a:cubicBezTo>
                      <a:pt x="138" y="33"/>
                      <a:pt x="99" y="25"/>
                      <a:pt x="70" y="43"/>
                    </a:cubicBezTo>
                    <a:cubicBezTo>
                      <a:pt x="41" y="62"/>
                      <a:pt x="32" y="101"/>
                      <a:pt x="51" y="130"/>
                    </a:cubicBezTo>
                    <a:cubicBezTo>
                      <a:pt x="65" y="152"/>
                      <a:pt x="90" y="163"/>
                      <a:pt x="115" y="158"/>
                    </a:cubicBezTo>
                    <a:close/>
                    <a:moveTo>
                      <a:pt x="183" y="221"/>
                    </a:moveTo>
                    <a:cubicBezTo>
                      <a:pt x="177" y="225"/>
                      <a:pt x="169" y="223"/>
                      <a:pt x="165" y="217"/>
                    </a:cubicBezTo>
                    <a:cubicBezTo>
                      <a:pt x="120" y="146"/>
                      <a:pt x="120" y="146"/>
                      <a:pt x="120" y="146"/>
                    </a:cubicBezTo>
                    <a:cubicBezTo>
                      <a:pt x="98" y="153"/>
                      <a:pt x="72" y="145"/>
                      <a:pt x="59" y="124"/>
                    </a:cubicBezTo>
                    <a:cubicBezTo>
                      <a:pt x="44" y="100"/>
                      <a:pt x="51" y="67"/>
                      <a:pt x="75" y="52"/>
                    </a:cubicBezTo>
                    <a:cubicBezTo>
                      <a:pt x="100" y="36"/>
                      <a:pt x="132" y="44"/>
                      <a:pt x="148" y="68"/>
                    </a:cubicBezTo>
                    <a:cubicBezTo>
                      <a:pt x="161" y="89"/>
                      <a:pt x="158" y="115"/>
                      <a:pt x="142" y="132"/>
                    </a:cubicBezTo>
                    <a:cubicBezTo>
                      <a:pt x="187" y="203"/>
                      <a:pt x="187" y="203"/>
                      <a:pt x="187" y="203"/>
                    </a:cubicBezTo>
                    <a:cubicBezTo>
                      <a:pt x="191" y="209"/>
                      <a:pt x="189" y="217"/>
                      <a:pt x="183" y="221"/>
                    </a:cubicBezTo>
                    <a:close/>
                    <a:moveTo>
                      <a:pt x="144" y="71"/>
                    </a:moveTo>
                    <a:cubicBezTo>
                      <a:pt x="129" y="49"/>
                      <a:pt x="100" y="42"/>
                      <a:pt x="78" y="56"/>
                    </a:cubicBezTo>
                    <a:cubicBezTo>
                      <a:pt x="56" y="70"/>
                      <a:pt x="50" y="100"/>
                      <a:pt x="64" y="122"/>
                    </a:cubicBezTo>
                    <a:cubicBezTo>
                      <a:pt x="78" y="144"/>
                      <a:pt x="107" y="150"/>
                      <a:pt x="129" y="136"/>
                    </a:cubicBezTo>
                    <a:cubicBezTo>
                      <a:pt x="151" y="122"/>
                      <a:pt x="158" y="93"/>
                      <a:pt x="144" y="7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17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MS PGothic" charset="0"/>
                </a:endParaRPr>
              </a:p>
            </p:txBody>
          </p:sp>
          <p:sp>
            <p:nvSpPr>
              <p:cNvPr id="140" name="Freeform 13"/>
              <p:cNvSpPr>
                <a:spLocks noChangeAspect="1" noEditPoints="1"/>
              </p:cNvSpPr>
              <p:nvPr/>
            </p:nvSpPr>
            <p:spPr bwMode="black">
              <a:xfrm>
                <a:off x="6449512" y="4714853"/>
                <a:ext cx="409278" cy="348471"/>
              </a:xfrm>
              <a:custGeom>
                <a:avLst/>
                <a:gdLst>
                  <a:gd name="T0" fmla="*/ 344 w 414"/>
                  <a:gd name="T1" fmla="*/ 55 h 353"/>
                  <a:gd name="T2" fmla="*/ 296 w 414"/>
                  <a:gd name="T3" fmla="*/ 9 h 353"/>
                  <a:gd name="T4" fmla="*/ 206 w 414"/>
                  <a:gd name="T5" fmla="*/ 45 h 353"/>
                  <a:gd name="T6" fmla="*/ 0 w 414"/>
                  <a:gd name="T7" fmla="*/ 174 h 353"/>
                  <a:gd name="T8" fmla="*/ 158 w 414"/>
                  <a:gd name="T9" fmla="*/ 278 h 353"/>
                  <a:gd name="T10" fmla="*/ 160 w 414"/>
                  <a:gd name="T11" fmla="*/ 278 h 353"/>
                  <a:gd name="T12" fmla="*/ 160 w 414"/>
                  <a:gd name="T13" fmla="*/ 332 h 353"/>
                  <a:gd name="T14" fmla="*/ 133 w 414"/>
                  <a:gd name="T15" fmla="*/ 337 h 353"/>
                  <a:gd name="T16" fmla="*/ 128 w 414"/>
                  <a:gd name="T17" fmla="*/ 347 h 353"/>
                  <a:gd name="T18" fmla="*/ 137 w 414"/>
                  <a:gd name="T19" fmla="*/ 352 h 353"/>
                  <a:gd name="T20" fmla="*/ 137 w 414"/>
                  <a:gd name="T21" fmla="*/ 352 h 353"/>
                  <a:gd name="T22" fmla="*/ 176 w 414"/>
                  <a:gd name="T23" fmla="*/ 346 h 353"/>
                  <a:gd name="T24" fmla="*/ 215 w 414"/>
                  <a:gd name="T25" fmla="*/ 352 h 353"/>
                  <a:gd name="T26" fmla="*/ 218 w 414"/>
                  <a:gd name="T27" fmla="*/ 352 h 353"/>
                  <a:gd name="T28" fmla="*/ 224 w 414"/>
                  <a:gd name="T29" fmla="*/ 347 h 353"/>
                  <a:gd name="T30" fmla="*/ 245 w 414"/>
                  <a:gd name="T31" fmla="*/ 352 h 353"/>
                  <a:gd name="T32" fmla="*/ 248 w 414"/>
                  <a:gd name="T33" fmla="*/ 352 h 353"/>
                  <a:gd name="T34" fmla="*/ 255 w 414"/>
                  <a:gd name="T35" fmla="*/ 347 h 353"/>
                  <a:gd name="T36" fmla="*/ 250 w 414"/>
                  <a:gd name="T37" fmla="*/ 337 h 353"/>
                  <a:gd name="T38" fmla="*/ 207 w 414"/>
                  <a:gd name="T39" fmla="*/ 331 h 353"/>
                  <a:gd name="T40" fmla="*/ 207 w 414"/>
                  <a:gd name="T41" fmla="*/ 271 h 353"/>
                  <a:gd name="T42" fmla="*/ 343 w 414"/>
                  <a:gd name="T43" fmla="*/ 112 h 353"/>
                  <a:gd name="T44" fmla="*/ 414 w 414"/>
                  <a:gd name="T45" fmla="*/ 83 h 353"/>
                  <a:gd name="T46" fmla="*/ 344 w 414"/>
                  <a:gd name="T47" fmla="*/ 55 h 353"/>
                  <a:gd name="T48" fmla="*/ 192 w 414"/>
                  <a:gd name="T49" fmla="*/ 332 h 353"/>
                  <a:gd name="T50" fmla="*/ 192 w 414"/>
                  <a:gd name="T51" fmla="*/ 332 h 353"/>
                  <a:gd name="T52" fmla="*/ 191 w 414"/>
                  <a:gd name="T53" fmla="*/ 332 h 353"/>
                  <a:gd name="T54" fmla="*/ 176 w 414"/>
                  <a:gd name="T55" fmla="*/ 331 h 353"/>
                  <a:gd name="T56" fmla="*/ 175 w 414"/>
                  <a:gd name="T57" fmla="*/ 331 h 353"/>
                  <a:gd name="T58" fmla="*/ 175 w 414"/>
                  <a:gd name="T59" fmla="*/ 277 h 353"/>
                  <a:gd name="T60" fmla="*/ 192 w 414"/>
                  <a:gd name="T61" fmla="*/ 275 h 353"/>
                  <a:gd name="T62" fmla="*/ 192 w 414"/>
                  <a:gd name="T63" fmla="*/ 332 h 353"/>
                  <a:gd name="T64" fmla="*/ 286 w 414"/>
                  <a:gd name="T65" fmla="*/ 82 h 353"/>
                  <a:gd name="T66" fmla="*/ 271 w 414"/>
                  <a:gd name="T67" fmla="*/ 67 h 353"/>
                  <a:gd name="T68" fmla="*/ 286 w 414"/>
                  <a:gd name="T69" fmla="*/ 52 h 353"/>
                  <a:gd name="T70" fmla="*/ 301 w 414"/>
                  <a:gd name="T71" fmla="*/ 67 h 353"/>
                  <a:gd name="T72" fmla="*/ 286 w 414"/>
                  <a:gd name="T73" fmla="*/ 8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14" h="353">
                    <a:moveTo>
                      <a:pt x="344" y="55"/>
                    </a:moveTo>
                    <a:cubicBezTo>
                      <a:pt x="336" y="33"/>
                      <a:pt x="319" y="16"/>
                      <a:pt x="296" y="9"/>
                    </a:cubicBezTo>
                    <a:cubicBezTo>
                      <a:pt x="263" y="0"/>
                      <a:pt x="228" y="11"/>
                      <a:pt x="206" y="45"/>
                    </a:cubicBezTo>
                    <a:cubicBezTo>
                      <a:pt x="145" y="140"/>
                      <a:pt x="71" y="200"/>
                      <a:pt x="0" y="174"/>
                    </a:cubicBezTo>
                    <a:cubicBezTo>
                      <a:pt x="0" y="174"/>
                      <a:pt x="50" y="278"/>
                      <a:pt x="158" y="278"/>
                    </a:cubicBezTo>
                    <a:cubicBezTo>
                      <a:pt x="159" y="278"/>
                      <a:pt x="160" y="278"/>
                      <a:pt x="160" y="278"/>
                    </a:cubicBezTo>
                    <a:cubicBezTo>
                      <a:pt x="160" y="332"/>
                      <a:pt x="160" y="332"/>
                      <a:pt x="160" y="332"/>
                    </a:cubicBezTo>
                    <a:cubicBezTo>
                      <a:pt x="150" y="333"/>
                      <a:pt x="140" y="335"/>
                      <a:pt x="133" y="337"/>
                    </a:cubicBezTo>
                    <a:cubicBezTo>
                      <a:pt x="129" y="339"/>
                      <a:pt x="127" y="343"/>
                      <a:pt x="128" y="347"/>
                    </a:cubicBezTo>
                    <a:cubicBezTo>
                      <a:pt x="129" y="351"/>
                      <a:pt x="134" y="353"/>
                      <a:pt x="137" y="352"/>
                    </a:cubicBezTo>
                    <a:cubicBezTo>
                      <a:pt x="137" y="352"/>
                      <a:pt x="137" y="352"/>
                      <a:pt x="137" y="352"/>
                    </a:cubicBezTo>
                    <a:cubicBezTo>
                      <a:pt x="147" y="348"/>
                      <a:pt x="161" y="346"/>
                      <a:pt x="176" y="346"/>
                    </a:cubicBezTo>
                    <a:cubicBezTo>
                      <a:pt x="192" y="346"/>
                      <a:pt x="206" y="348"/>
                      <a:pt x="215" y="352"/>
                    </a:cubicBezTo>
                    <a:cubicBezTo>
                      <a:pt x="216" y="352"/>
                      <a:pt x="217" y="352"/>
                      <a:pt x="218" y="352"/>
                    </a:cubicBezTo>
                    <a:cubicBezTo>
                      <a:pt x="221" y="352"/>
                      <a:pt x="223" y="350"/>
                      <a:pt x="224" y="347"/>
                    </a:cubicBezTo>
                    <a:cubicBezTo>
                      <a:pt x="232" y="348"/>
                      <a:pt x="240" y="350"/>
                      <a:pt x="245" y="352"/>
                    </a:cubicBezTo>
                    <a:cubicBezTo>
                      <a:pt x="246" y="352"/>
                      <a:pt x="247" y="352"/>
                      <a:pt x="248" y="352"/>
                    </a:cubicBezTo>
                    <a:cubicBezTo>
                      <a:pt x="251" y="352"/>
                      <a:pt x="254" y="350"/>
                      <a:pt x="255" y="347"/>
                    </a:cubicBezTo>
                    <a:cubicBezTo>
                      <a:pt x="256" y="343"/>
                      <a:pt x="254" y="339"/>
                      <a:pt x="250" y="337"/>
                    </a:cubicBezTo>
                    <a:cubicBezTo>
                      <a:pt x="239" y="334"/>
                      <a:pt x="224" y="331"/>
                      <a:pt x="207" y="331"/>
                    </a:cubicBezTo>
                    <a:cubicBezTo>
                      <a:pt x="207" y="271"/>
                      <a:pt x="207" y="271"/>
                      <a:pt x="207" y="271"/>
                    </a:cubicBezTo>
                    <a:cubicBezTo>
                      <a:pt x="283" y="251"/>
                      <a:pt x="323" y="185"/>
                      <a:pt x="343" y="112"/>
                    </a:cubicBezTo>
                    <a:cubicBezTo>
                      <a:pt x="414" y="83"/>
                      <a:pt x="414" y="83"/>
                      <a:pt x="414" y="83"/>
                    </a:cubicBezTo>
                    <a:lnTo>
                      <a:pt x="344" y="55"/>
                    </a:lnTo>
                    <a:close/>
                    <a:moveTo>
                      <a:pt x="192" y="332"/>
                    </a:moveTo>
                    <a:cubicBezTo>
                      <a:pt x="192" y="332"/>
                      <a:pt x="192" y="332"/>
                      <a:pt x="192" y="332"/>
                    </a:cubicBezTo>
                    <a:cubicBezTo>
                      <a:pt x="192" y="332"/>
                      <a:pt x="192" y="332"/>
                      <a:pt x="191" y="332"/>
                    </a:cubicBezTo>
                    <a:cubicBezTo>
                      <a:pt x="187" y="331"/>
                      <a:pt x="181" y="331"/>
                      <a:pt x="176" y="331"/>
                    </a:cubicBezTo>
                    <a:cubicBezTo>
                      <a:pt x="176" y="331"/>
                      <a:pt x="176" y="331"/>
                      <a:pt x="175" y="331"/>
                    </a:cubicBezTo>
                    <a:cubicBezTo>
                      <a:pt x="175" y="277"/>
                      <a:pt x="175" y="277"/>
                      <a:pt x="175" y="277"/>
                    </a:cubicBezTo>
                    <a:cubicBezTo>
                      <a:pt x="181" y="276"/>
                      <a:pt x="187" y="276"/>
                      <a:pt x="192" y="275"/>
                    </a:cubicBezTo>
                    <a:lnTo>
                      <a:pt x="192" y="332"/>
                    </a:lnTo>
                    <a:close/>
                    <a:moveTo>
                      <a:pt x="286" y="82"/>
                    </a:moveTo>
                    <a:cubicBezTo>
                      <a:pt x="278" y="82"/>
                      <a:pt x="271" y="75"/>
                      <a:pt x="271" y="67"/>
                    </a:cubicBezTo>
                    <a:cubicBezTo>
                      <a:pt x="271" y="59"/>
                      <a:pt x="278" y="52"/>
                      <a:pt x="286" y="52"/>
                    </a:cubicBezTo>
                    <a:cubicBezTo>
                      <a:pt x="294" y="52"/>
                      <a:pt x="301" y="59"/>
                      <a:pt x="301" y="67"/>
                    </a:cubicBezTo>
                    <a:cubicBezTo>
                      <a:pt x="301" y="75"/>
                      <a:pt x="294" y="82"/>
                      <a:pt x="286" y="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80684" tIns="40342" rIns="80684" bIns="40342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2614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-120" normalizeH="0" baseline="0" noProof="0">
                  <a:ln>
                    <a:noFill/>
                  </a:ln>
                  <a:solidFill>
                    <a:srgbClr val="00000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1" name="Rectangle 3"/>
          <p:cNvSpPr/>
          <p:nvPr/>
        </p:nvSpPr>
        <p:spPr bwMode="auto">
          <a:xfrm>
            <a:off x="471803" y="1189495"/>
            <a:ext cx="11217106" cy="2239506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61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42" name="Group 2"/>
          <p:cNvGrpSpPr/>
          <p:nvPr/>
        </p:nvGrpSpPr>
        <p:grpSpPr>
          <a:xfrm>
            <a:off x="1087913" y="1392896"/>
            <a:ext cx="10344088" cy="1824685"/>
            <a:chOff x="1109727" y="1420329"/>
            <a:chExt cx="10551509" cy="1861274"/>
          </a:xfrm>
        </p:grpSpPr>
        <p:pic>
          <p:nvPicPr>
            <p:cNvPr id="143" name="Picture 6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9727" y="1597819"/>
              <a:ext cx="2571750" cy="1514475"/>
            </a:xfrm>
            <a:prstGeom prst="rect">
              <a:avLst/>
            </a:prstGeom>
          </p:spPr>
        </p:pic>
        <p:grpSp>
          <p:nvGrpSpPr>
            <p:cNvPr id="144" name="Group 4"/>
            <p:cNvGrpSpPr/>
            <p:nvPr/>
          </p:nvGrpSpPr>
          <p:grpSpPr>
            <a:xfrm>
              <a:off x="4309941" y="1420329"/>
              <a:ext cx="7351295" cy="1861274"/>
              <a:chOff x="4133589" y="1499942"/>
              <a:chExt cx="7351295" cy="1861274"/>
            </a:xfrm>
          </p:grpSpPr>
          <p:sp>
            <p:nvSpPr>
              <p:cNvPr id="145" name="TextBox 144"/>
              <p:cNvSpPr txBox="1"/>
              <p:nvPr/>
            </p:nvSpPr>
            <p:spPr>
              <a:xfrm>
                <a:off x="4133589" y="1499942"/>
                <a:ext cx="7351295" cy="69962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 anchor="ctr">
                <a:spAutoFit/>
              </a:bodyPr>
              <a:lstStyle/>
              <a:p>
                <a:pPr defTabSz="913505" fontAlgn="base" latinLnBrk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745" dirty="0">
                    <a:gradFill>
                      <a:gsLst>
                        <a:gs pos="0">
                          <a:srgbClr val="000000">
                            <a:lumMod val="95000"/>
                            <a:lumOff val="5000"/>
                          </a:srgbClr>
                        </a:gs>
                        <a:gs pos="100000">
                          <a:srgbClr val="000000">
                            <a:lumMod val="95000"/>
                            <a:lumOff val="5000"/>
                          </a:srgbClr>
                        </a:gs>
                      </a:gsLst>
                      <a:lin ang="5400000" scaled="0"/>
                    </a:gradFill>
                    <a:latin typeface="Segoe UI Light"/>
                    <a:ea typeface="MS PGothic" charset="0"/>
                  </a:rPr>
                  <a:t>Apache </a:t>
                </a:r>
                <a:r>
                  <a:rPr lang="ko-KR" altLang="en-US" sz="2745">
                    <a:gradFill>
                      <a:gsLst>
                        <a:gs pos="0">
                          <a:srgbClr val="000000">
                            <a:lumMod val="95000"/>
                            <a:lumOff val="5000"/>
                          </a:srgbClr>
                        </a:gs>
                        <a:gs pos="100000">
                          <a:srgbClr val="000000">
                            <a:lumMod val="95000"/>
                            <a:lumOff val="5000"/>
                          </a:srgbClr>
                        </a:gs>
                      </a:gsLst>
                      <a:lin ang="5400000" scaled="0"/>
                    </a:gradFill>
                    <a:latin typeface="Segoe UI Light"/>
                    <a:ea typeface="MS PGothic" charset="0"/>
                  </a:rPr>
                  <a:t>오픈 소스 프로젝트</a:t>
                </a:r>
                <a:endParaRPr lang="en-US" sz="2745" dirty="0">
                  <a:gradFill>
                    <a:gsLst>
                      <a:gs pos="0">
                        <a:srgbClr val="000000">
                          <a:lumMod val="95000"/>
                          <a:lumOff val="5000"/>
                        </a:srgbClr>
                      </a:gs>
                      <a:gs pos="100000">
                        <a:srgbClr val="000000">
                          <a:lumMod val="95000"/>
                          <a:lumOff val="5000"/>
                        </a:srgbClr>
                      </a:gs>
                    </a:gsLst>
                    <a:lin ang="5400000" scaled="0"/>
                  </a:gradFill>
                  <a:latin typeface="Segoe UI Light"/>
                  <a:ea typeface="MS PGothic" charset="0"/>
                </a:endParaRPr>
              </a:p>
            </p:txBody>
          </p:sp>
          <p:sp>
            <p:nvSpPr>
              <p:cNvPr id="146" name="TextBox 145"/>
              <p:cNvSpPr txBox="1"/>
              <p:nvPr/>
            </p:nvSpPr>
            <p:spPr>
              <a:xfrm>
                <a:off x="4133589" y="2093038"/>
                <a:ext cx="7351295" cy="683264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 anchor="ctr">
                <a:spAutoFit/>
              </a:bodyPr>
              <a:lstStyle/>
              <a:p>
                <a:pPr defTabSz="913505" fontAlgn="base" latinLnBrk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745" dirty="0">
                    <a:gradFill>
                      <a:gsLst>
                        <a:gs pos="0">
                          <a:srgbClr val="000000">
                            <a:lumMod val="95000"/>
                            <a:lumOff val="5000"/>
                          </a:srgbClr>
                        </a:gs>
                        <a:gs pos="100000">
                          <a:srgbClr val="000000">
                            <a:lumMod val="95000"/>
                            <a:lumOff val="5000"/>
                          </a:srgbClr>
                        </a:gs>
                      </a:gsLst>
                      <a:lin ang="5400000" scaled="0"/>
                    </a:gradFill>
                    <a:latin typeface="Segoe UI Light"/>
                    <a:ea typeface="MS PGothic" charset="0"/>
                  </a:rPr>
                  <a:t>Highly Scalable distributed file system (HDFS)</a:t>
                </a:r>
              </a:p>
            </p:txBody>
          </p:sp>
          <p:sp>
            <p:nvSpPr>
              <p:cNvPr id="147" name="TextBox 146"/>
              <p:cNvSpPr txBox="1"/>
              <p:nvPr/>
            </p:nvSpPr>
            <p:spPr>
              <a:xfrm>
                <a:off x="4133589" y="2677958"/>
                <a:ext cx="7351295" cy="683258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 anchor="ctr">
                <a:spAutoFit/>
              </a:bodyPr>
              <a:lstStyle/>
              <a:p>
                <a:pPr defTabSz="913505" fontAlgn="base" latinLnBrk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ko-KR" altLang="en-US" sz="2745" dirty="0">
                    <a:gradFill>
                      <a:gsLst>
                        <a:gs pos="0">
                          <a:srgbClr val="000000">
                            <a:lumMod val="95000"/>
                            <a:lumOff val="5000"/>
                          </a:srgbClr>
                        </a:gs>
                        <a:gs pos="100000">
                          <a:srgbClr val="000000">
                            <a:lumMod val="95000"/>
                            <a:lumOff val="5000"/>
                          </a:srgbClr>
                        </a:gs>
                      </a:gsLst>
                      <a:lin ang="5400000" scaled="0"/>
                    </a:gradFill>
                    <a:latin typeface="Segoe UI Light"/>
                    <a:ea typeface="MS PGothic" charset="0"/>
                  </a:rPr>
                  <a:t>데이터</a:t>
                </a:r>
                <a:r>
                  <a:rPr lang="en-US" sz="2745" dirty="0">
                    <a:gradFill>
                      <a:gsLst>
                        <a:gs pos="0">
                          <a:srgbClr val="000000">
                            <a:lumMod val="95000"/>
                            <a:lumOff val="5000"/>
                          </a:srgbClr>
                        </a:gs>
                        <a:gs pos="100000">
                          <a:srgbClr val="000000">
                            <a:lumMod val="95000"/>
                            <a:lumOff val="5000"/>
                          </a:srgbClr>
                        </a:gs>
                      </a:gsLst>
                      <a:lin ang="5400000" scaled="0"/>
                    </a:gradFill>
                    <a:latin typeface="Segoe UI Light"/>
                    <a:ea typeface="MS PGothic" charset="0"/>
                  </a:rPr>
                  <a:t> </a:t>
                </a:r>
                <a:r>
                  <a:rPr lang="ko-KR" altLang="en-US" sz="2745">
                    <a:gradFill>
                      <a:gsLst>
                        <a:gs pos="0">
                          <a:srgbClr val="000000">
                            <a:lumMod val="95000"/>
                            <a:lumOff val="5000"/>
                          </a:srgbClr>
                        </a:gs>
                        <a:gs pos="100000">
                          <a:srgbClr val="000000">
                            <a:lumMod val="95000"/>
                            <a:lumOff val="5000"/>
                          </a:srgbClr>
                        </a:gs>
                      </a:gsLst>
                      <a:lin ang="5400000" scaled="0"/>
                    </a:gradFill>
                    <a:latin typeface="Segoe UI Light"/>
                    <a:ea typeface="MS PGothic" charset="0"/>
                  </a:rPr>
                  <a:t>노드에서 분산 프로세싱</a:t>
                </a:r>
                <a:endParaRPr lang="en-US" sz="2745" dirty="0">
                  <a:gradFill>
                    <a:gsLst>
                      <a:gs pos="0">
                        <a:srgbClr val="000000">
                          <a:lumMod val="95000"/>
                          <a:lumOff val="5000"/>
                        </a:srgbClr>
                      </a:gs>
                      <a:gs pos="100000">
                        <a:srgbClr val="000000">
                          <a:lumMod val="95000"/>
                          <a:lumOff val="5000"/>
                        </a:srgbClr>
                      </a:gs>
                    </a:gsLst>
                    <a:lin ang="5400000" scaled="0"/>
                  </a:gradFill>
                  <a:latin typeface="Segoe UI Light"/>
                  <a:ea typeface="MS PGothic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0291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accel="10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750" fill="hold"/>
                                        <p:tgtEl>
                                          <p:spTgt spid="141"/>
                                        </p:tgtEl>
                                      </p:cBhvr>
                                      <p:by x="0" y="10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35" presetClass="pat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4521E-6 -2.54653E-6 L -0.21394 -2.54653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69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1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1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 animBg="1"/>
      <p:bldP spid="141" grpId="1" animBg="1"/>
      <p:bldP spid="141" grpId="2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ost-processing: Data Summary</a:t>
            </a:r>
            <a:endParaRPr lang="ko-KR" altLang="en-US" dirty="0"/>
          </a:p>
        </p:txBody>
      </p:sp>
      <p:sp>
        <p:nvSpPr>
          <p:cNvPr id="61" name="Flowchart: Terminator 8"/>
          <p:cNvSpPr/>
          <p:nvPr/>
        </p:nvSpPr>
        <p:spPr>
          <a:xfrm>
            <a:off x="7174968" y="1307820"/>
            <a:ext cx="1012541" cy="334138"/>
          </a:xfrm>
          <a:prstGeom prst="flowChartTerminator">
            <a:avLst/>
          </a:prstGeom>
          <a:solidFill>
            <a:srgbClr val="505050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PUT</a:t>
            </a:r>
          </a:p>
        </p:txBody>
      </p:sp>
      <p:sp>
        <p:nvSpPr>
          <p:cNvPr id="62" name="Flowchart: Terminator 10"/>
          <p:cNvSpPr/>
          <p:nvPr/>
        </p:nvSpPr>
        <p:spPr>
          <a:xfrm>
            <a:off x="6927353" y="6539282"/>
            <a:ext cx="1507771" cy="334138"/>
          </a:xfrm>
          <a:prstGeom prst="flowChartTerminator">
            <a:avLst/>
          </a:prstGeom>
          <a:solidFill>
            <a:srgbClr val="505050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UTPUT</a:t>
            </a:r>
          </a:p>
        </p:txBody>
      </p:sp>
      <p:sp>
        <p:nvSpPr>
          <p:cNvPr id="63" name="Flowchart: Process 9"/>
          <p:cNvSpPr/>
          <p:nvPr/>
        </p:nvSpPr>
        <p:spPr>
          <a:xfrm>
            <a:off x="6584319" y="2125805"/>
            <a:ext cx="2193838" cy="339202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-Execution</a:t>
            </a:r>
          </a:p>
        </p:txBody>
      </p:sp>
      <p:sp>
        <p:nvSpPr>
          <p:cNvPr id="64" name="Flowchart: Magnetic Disk 11"/>
          <p:cNvSpPr/>
          <p:nvPr/>
        </p:nvSpPr>
        <p:spPr>
          <a:xfrm>
            <a:off x="3803385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1</a:t>
            </a:r>
          </a:p>
        </p:txBody>
      </p:sp>
      <p:sp>
        <p:nvSpPr>
          <p:cNvPr id="65" name="Flowchart: Process 13"/>
          <p:cNvSpPr/>
          <p:nvPr/>
        </p:nvSpPr>
        <p:spPr>
          <a:xfrm>
            <a:off x="3193322" y="4939467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1</a:t>
            </a:r>
          </a:p>
        </p:txBody>
      </p:sp>
      <p:sp>
        <p:nvSpPr>
          <p:cNvPr id="66" name="Flowchart: Magnetic Disk 19"/>
          <p:cNvSpPr/>
          <p:nvPr/>
        </p:nvSpPr>
        <p:spPr>
          <a:xfrm>
            <a:off x="5938603" y="2900441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2</a:t>
            </a:r>
          </a:p>
        </p:txBody>
      </p:sp>
      <p:sp>
        <p:nvSpPr>
          <p:cNvPr id="67" name="Flowchart: Magnetic Disk 20"/>
          <p:cNvSpPr/>
          <p:nvPr/>
        </p:nvSpPr>
        <p:spPr>
          <a:xfrm>
            <a:off x="8073821" y="2900441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3</a:t>
            </a:r>
          </a:p>
        </p:txBody>
      </p:sp>
      <p:sp>
        <p:nvSpPr>
          <p:cNvPr id="68" name="Flowchart: Magnetic Disk 21"/>
          <p:cNvSpPr/>
          <p:nvPr/>
        </p:nvSpPr>
        <p:spPr>
          <a:xfrm>
            <a:off x="10209038" y="2907635"/>
            <a:ext cx="1350054" cy="678403"/>
          </a:xfrm>
          <a:prstGeom prst="flowChartMagneticDisk">
            <a:avLst/>
          </a:prstGeom>
          <a:solidFill>
            <a:srgbClr val="00BCF2"/>
          </a:solidFill>
          <a:ln w="10795" cap="flat" cmpd="sng" algn="ctr">
            <a:solidFill>
              <a:srgbClr val="505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pper N</a:t>
            </a:r>
          </a:p>
        </p:txBody>
      </p:sp>
      <p:sp>
        <p:nvSpPr>
          <p:cNvPr id="69" name="Flowchart: Process 23"/>
          <p:cNvSpPr/>
          <p:nvPr/>
        </p:nvSpPr>
        <p:spPr>
          <a:xfrm>
            <a:off x="4718477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2</a:t>
            </a:r>
          </a:p>
        </p:txBody>
      </p:sp>
      <p:sp>
        <p:nvSpPr>
          <p:cNvPr id="70" name="Flowchart: Process 24"/>
          <p:cNvSpPr/>
          <p:nvPr/>
        </p:nvSpPr>
        <p:spPr>
          <a:xfrm>
            <a:off x="6243632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3</a:t>
            </a:r>
          </a:p>
        </p:txBody>
      </p:sp>
      <p:sp>
        <p:nvSpPr>
          <p:cNvPr id="71" name="Flowchart: Process 25"/>
          <p:cNvSpPr/>
          <p:nvPr/>
        </p:nvSpPr>
        <p:spPr>
          <a:xfrm>
            <a:off x="10819098" y="4936091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m</a:t>
            </a:r>
          </a:p>
        </p:txBody>
      </p:sp>
      <p:sp>
        <p:nvSpPr>
          <p:cNvPr id="72" name="Flowchart: Process 26"/>
          <p:cNvSpPr/>
          <p:nvPr/>
        </p:nvSpPr>
        <p:spPr>
          <a:xfrm>
            <a:off x="6584319" y="5778188"/>
            <a:ext cx="2193838" cy="339202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ta Summary</a:t>
            </a:r>
          </a:p>
        </p:txBody>
      </p:sp>
      <p:cxnSp>
        <p:nvCxnSpPr>
          <p:cNvPr id="73" name="Straight Arrow Connector 27"/>
          <p:cNvCxnSpPr>
            <a:stCxn id="61" idx="2"/>
            <a:endCxn id="63" idx="0"/>
          </p:cNvCxnSpPr>
          <p:nvPr/>
        </p:nvCxnSpPr>
        <p:spPr>
          <a:xfrm>
            <a:off x="7681238" y="1641958"/>
            <a:ext cx="0" cy="483847"/>
          </a:xfrm>
          <a:prstGeom prst="straightConnector1">
            <a:avLst/>
          </a:prstGeom>
          <a:solidFill>
            <a:srgbClr val="68217A"/>
          </a:solidFill>
          <a:ln w="10795" cap="flat" cmpd="sng" algn="ctr">
            <a:solidFill>
              <a:srgbClr val="008272">
                <a:lumMod val="50000"/>
              </a:srgbClr>
            </a:solidFill>
            <a:prstDash val="solid"/>
          </a:ln>
          <a:effectLst/>
        </p:spPr>
      </p:cxnSp>
      <p:cxnSp>
        <p:nvCxnSpPr>
          <p:cNvPr id="74" name="Straight Arrow Connector 31"/>
          <p:cNvCxnSpPr>
            <a:stCxn id="63" idx="2"/>
            <a:endCxn id="64" idx="1"/>
          </p:cNvCxnSpPr>
          <p:nvPr/>
        </p:nvCxnSpPr>
        <p:spPr>
          <a:xfrm flipH="1">
            <a:off x="4478412" y="2465007"/>
            <a:ext cx="3202826" cy="442629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5" name="Straight Arrow Connector 32"/>
          <p:cNvCxnSpPr>
            <a:stCxn id="63" idx="2"/>
            <a:endCxn id="67" idx="1"/>
          </p:cNvCxnSpPr>
          <p:nvPr/>
        </p:nvCxnSpPr>
        <p:spPr>
          <a:xfrm>
            <a:off x="7681239" y="2465007"/>
            <a:ext cx="1067609" cy="435434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6" name="Straight Arrow Connector 33"/>
          <p:cNvCxnSpPr>
            <a:stCxn id="63" idx="2"/>
            <a:endCxn id="66" idx="1"/>
          </p:cNvCxnSpPr>
          <p:nvPr/>
        </p:nvCxnSpPr>
        <p:spPr>
          <a:xfrm flipH="1">
            <a:off x="6613630" y="2465007"/>
            <a:ext cx="1067608" cy="435434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7" name="Straight Arrow Connector 34"/>
          <p:cNvCxnSpPr>
            <a:stCxn id="63" idx="2"/>
            <a:endCxn id="68" idx="1"/>
          </p:cNvCxnSpPr>
          <p:nvPr/>
        </p:nvCxnSpPr>
        <p:spPr>
          <a:xfrm>
            <a:off x="7681238" y="2465007"/>
            <a:ext cx="3202827" cy="442629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8" name="Straight Arrow Connector 35"/>
          <p:cNvCxnSpPr>
            <a:stCxn id="72" idx="2"/>
            <a:endCxn id="62" idx="0"/>
          </p:cNvCxnSpPr>
          <p:nvPr/>
        </p:nvCxnSpPr>
        <p:spPr>
          <a:xfrm>
            <a:off x="7681238" y="6117390"/>
            <a:ext cx="0" cy="42189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79" name="Straight Arrow Connector 79"/>
          <p:cNvCxnSpPr>
            <a:stCxn id="99" idx="2"/>
            <a:endCxn id="72" idx="0"/>
          </p:cNvCxnSpPr>
          <p:nvPr/>
        </p:nvCxnSpPr>
        <p:spPr>
          <a:xfrm flipH="1">
            <a:off x="7681238" y="5364734"/>
            <a:ext cx="762577" cy="413454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0" name="Straight Arrow Connector 80"/>
          <p:cNvCxnSpPr>
            <a:stCxn id="69" idx="2"/>
            <a:endCxn id="72" idx="0"/>
          </p:cNvCxnSpPr>
          <p:nvPr/>
        </p:nvCxnSpPr>
        <p:spPr>
          <a:xfrm>
            <a:off x="5393504" y="5361358"/>
            <a:ext cx="2287734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1" name="Straight Arrow Connector 81"/>
          <p:cNvCxnSpPr>
            <a:stCxn id="70" idx="2"/>
            <a:endCxn id="72" idx="0"/>
          </p:cNvCxnSpPr>
          <p:nvPr/>
        </p:nvCxnSpPr>
        <p:spPr>
          <a:xfrm>
            <a:off x="6918659" y="5361358"/>
            <a:ext cx="762579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2" name="Straight Arrow Connector 82"/>
          <p:cNvCxnSpPr>
            <a:stCxn id="65" idx="2"/>
            <a:endCxn id="72" idx="0"/>
          </p:cNvCxnSpPr>
          <p:nvPr/>
        </p:nvCxnSpPr>
        <p:spPr>
          <a:xfrm>
            <a:off x="3868349" y="5364734"/>
            <a:ext cx="3812889" cy="413454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3" name="Straight Arrow Connector 96"/>
          <p:cNvCxnSpPr>
            <a:stCxn id="64" idx="3"/>
            <a:endCxn id="65" idx="0"/>
          </p:cNvCxnSpPr>
          <p:nvPr/>
        </p:nvCxnSpPr>
        <p:spPr>
          <a:xfrm flipH="1">
            <a:off x="3868349" y="3586038"/>
            <a:ext cx="610063" cy="1353428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4" name="Straight Arrow Connector 97"/>
          <p:cNvCxnSpPr>
            <a:stCxn id="64" idx="3"/>
            <a:endCxn id="70" idx="0"/>
          </p:cNvCxnSpPr>
          <p:nvPr/>
        </p:nvCxnSpPr>
        <p:spPr>
          <a:xfrm>
            <a:off x="4478412" y="3586039"/>
            <a:ext cx="2440248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5" name="Straight Arrow Connector 98"/>
          <p:cNvCxnSpPr>
            <a:stCxn id="64" idx="3"/>
            <a:endCxn id="69" idx="0"/>
          </p:cNvCxnSpPr>
          <p:nvPr/>
        </p:nvCxnSpPr>
        <p:spPr>
          <a:xfrm>
            <a:off x="4478412" y="3586039"/>
            <a:ext cx="915093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6" name="Straight Arrow Connector 99"/>
          <p:cNvCxnSpPr>
            <a:stCxn id="64" idx="3"/>
            <a:endCxn id="71" idx="0"/>
          </p:cNvCxnSpPr>
          <p:nvPr/>
        </p:nvCxnSpPr>
        <p:spPr>
          <a:xfrm>
            <a:off x="4478412" y="3586039"/>
            <a:ext cx="7015714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7" name="Straight Arrow Connector 100"/>
          <p:cNvCxnSpPr>
            <a:stCxn id="66" idx="3"/>
            <a:endCxn id="71" idx="0"/>
          </p:cNvCxnSpPr>
          <p:nvPr/>
        </p:nvCxnSpPr>
        <p:spPr>
          <a:xfrm>
            <a:off x="6613629" y="3578844"/>
            <a:ext cx="4880496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8" name="Straight Arrow Connector 101"/>
          <p:cNvCxnSpPr>
            <a:stCxn id="66" idx="3"/>
            <a:endCxn id="69" idx="0"/>
          </p:cNvCxnSpPr>
          <p:nvPr/>
        </p:nvCxnSpPr>
        <p:spPr>
          <a:xfrm flipH="1">
            <a:off x="5393504" y="3578844"/>
            <a:ext cx="1220125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89" name="Straight Arrow Connector 102"/>
          <p:cNvCxnSpPr>
            <a:stCxn id="66" idx="3"/>
            <a:endCxn id="70" idx="0"/>
          </p:cNvCxnSpPr>
          <p:nvPr/>
        </p:nvCxnSpPr>
        <p:spPr>
          <a:xfrm>
            <a:off x="6613629" y="3578844"/>
            <a:ext cx="305030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0" name="Straight Arrow Connector 103"/>
          <p:cNvCxnSpPr>
            <a:stCxn id="66" idx="3"/>
            <a:endCxn id="65" idx="0"/>
          </p:cNvCxnSpPr>
          <p:nvPr/>
        </p:nvCxnSpPr>
        <p:spPr>
          <a:xfrm flipH="1">
            <a:off x="3868349" y="3578844"/>
            <a:ext cx="2745281" cy="1360623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1" name="Straight Arrow Connector 104"/>
          <p:cNvCxnSpPr>
            <a:stCxn id="67" idx="3"/>
            <a:endCxn id="65" idx="0"/>
          </p:cNvCxnSpPr>
          <p:nvPr/>
        </p:nvCxnSpPr>
        <p:spPr>
          <a:xfrm flipH="1">
            <a:off x="3868349" y="3578844"/>
            <a:ext cx="4880499" cy="1360623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2" name="Straight Arrow Connector 105"/>
          <p:cNvCxnSpPr>
            <a:stCxn id="67" idx="3"/>
            <a:endCxn id="69" idx="0"/>
          </p:cNvCxnSpPr>
          <p:nvPr/>
        </p:nvCxnSpPr>
        <p:spPr>
          <a:xfrm flipH="1">
            <a:off x="5393505" y="3578844"/>
            <a:ext cx="3355343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3" name="Straight Arrow Connector 106"/>
          <p:cNvCxnSpPr>
            <a:stCxn id="67" idx="3"/>
            <a:endCxn id="70" idx="0"/>
          </p:cNvCxnSpPr>
          <p:nvPr/>
        </p:nvCxnSpPr>
        <p:spPr>
          <a:xfrm flipH="1">
            <a:off x="6918660" y="3578844"/>
            <a:ext cx="1830188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4" name="Straight Arrow Connector 107"/>
          <p:cNvCxnSpPr>
            <a:stCxn id="67" idx="3"/>
            <a:endCxn id="71" idx="0"/>
          </p:cNvCxnSpPr>
          <p:nvPr/>
        </p:nvCxnSpPr>
        <p:spPr>
          <a:xfrm>
            <a:off x="8748848" y="3578844"/>
            <a:ext cx="2745278" cy="1357247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5" name="Straight Arrow Connector 108"/>
          <p:cNvCxnSpPr>
            <a:stCxn id="68" idx="3"/>
            <a:endCxn id="65" idx="0"/>
          </p:cNvCxnSpPr>
          <p:nvPr/>
        </p:nvCxnSpPr>
        <p:spPr>
          <a:xfrm flipH="1">
            <a:off x="3868349" y="3586038"/>
            <a:ext cx="7015717" cy="1353428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6" name="Straight Arrow Connector 109"/>
          <p:cNvCxnSpPr>
            <a:stCxn id="68" idx="3"/>
            <a:endCxn id="70" idx="0"/>
          </p:cNvCxnSpPr>
          <p:nvPr/>
        </p:nvCxnSpPr>
        <p:spPr>
          <a:xfrm flipH="1">
            <a:off x="6918659" y="3586039"/>
            <a:ext cx="3965406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7" name="Straight Arrow Connector 110"/>
          <p:cNvCxnSpPr>
            <a:stCxn id="68" idx="3"/>
            <a:endCxn id="69" idx="0"/>
          </p:cNvCxnSpPr>
          <p:nvPr/>
        </p:nvCxnSpPr>
        <p:spPr>
          <a:xfrm flipH="1">
            <a:off x="5393504" y="3586039"/>
            <a:ext cx="5490561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98" name="Straight Arrow Connector 111"/>
          <p:cNvCxnSpPr>
            <a:stCxn id="68" idx="3"/>
            <a:endCxn id="71" idx="0"/>
          </p:cNvCxnSpPr>
          <p:nvPr/>
        </p:nvCxnSpPr>
        <p:spPr>
          <a:xfrm>
            <a:off x="10884065" y="3586039"/>
            <a:ext cx="610060" cy="1350052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sp>
        <p:nvSpPr>
          <p:cNvPr id="99" name="Flowchart: Process 88"/>
          <p:cNvSpPr/>
          <p:nvPr/>
        </p:nvSpPr>
        <p:spPr>
          <a:xfrm>
            <a:off x="7768788" y="4939467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4</a:t>
            </a:r>
          </a:p>
        </p:txBody>
      </p:sp>
      <p:sp>
        <p:nvSpPr>
          <p:cNvPr id="100" name="Flowchart: Process 89"/>
          <p:cNvSpPr/>
          <p:nvPr/>
        </p:nvSpPr>
        <p:spPr>
          <a:xfrm>
            <a:off x="9293943" y="4939467"/>
            <a:ext cx="1350054" cy="425268"/>
          </a:xfrm>
          <a:prstGeom prst="flowChartProcess">
            <a:avLst/>
          </a:prstGeom>
          <a:solidFill>
            <a:srgbClr val="00BCF2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18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er 5</a:t>
            </a:r>
          </a:p>
        </p:txBody>
      </p:sp>
      <p:cxnSp>
        <p:nvCxnSpPr>
          <p:cNvPr id="101" name="Straight Arrow Connector 90"/>
          <p:cNvCxnSpPr>
            <a:stCxn id="100" idx="2"/>
            <a:endCxn id="72" idx="0"/>
          </p:cNvCxnSpPr>
          <p:nvPr/>
        </p:nvCxnSpPr>
        <p:spPr>
          <a:xfrm flipH="1">
            <a:off x="7681238" y="5364734"/>
            <a:ext cx="2287732" cy="413454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2" name="Straight Arrow Connector 91"/>
          <p:cNvCxnSpPr>
            <a:stCxn id="71" idx="2"/>
            <a:endCxn id="72" idx="0"/>
          </p:cNvCxnSpPr>
          <p:nvPr/>
        </p:nvCxnSpPr>
        <p:spPr>
          <a:xfrm flipH="1">
            <a:off x="7681238" y="5361358"/>
            <a:ext cx="3812887" cy="416830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3" name="Straight Arrow Connector 94"/>
          <p:cNvCxnSpPr>
            <a:stCxn id="67" idx="3"/>
            <a:endCxn id="100" idx="0"/>
          </p:cNvCxnSpPr>
          <p:nvPr/>
        </p:nvCxnSpPr>
        <p:spPr>
          <a:xfrm>
            <a:off x="8748848" y="3578844"/>
            <a:ext cx="1220122" cy="1360623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4" name="Straight Arrow Connector 95"/>
          <p:cNvCxnSpPr>
            <a:stCxn id="68" idx="3"/>
            <a:endCxn id="100" idx="0"/>
          </p:cNvCxnSpPr>
          <p:nvPr/>
        </p:nvCxnSpPr>
        <p:spPr>
          <a:xfrm flipH="1">
            <a:off x="9968970" y="3586038"/>
            <a:ext cx="915096" cy="1353428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5" name="Straight Arrow Connector 112"/>
          <p:cNvCxnSpPr>
            <a:stCxn id="68" idx="3"/>
            <a:endCxn id="99" idx="0"/>
          </p:cNvCxnSpPr>
          <p:nvPr/>
        </p:nvCxnSpPr>
        <p:spPr>
          <a:xfrm flipH="1">
            <a:off x="8443815" y="3586038"/>
            <a:ext cx="2440251" cy="1353428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6" name="Straight Arrow Connector 113"/>
          <p:cNvCxnSpPr>
            <a:stCxn id="67" idx="3"/>
            <a:endCxn id="99" idx="0"/>
          </p:cNvCxnSpPr>
          <p:nvPr/>
        </p:nvCxnSpPr>
        <p:spPr>
          <a:xfrm flipH="1">
            <a:off x="8443815" y="3578844"/>
            <a:ext cx="305033" cy="1360623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7" name="Straight Arrow Connector 114"/>
          <p:cNvCxnSpPr>
            <a:stCxn id="66" idx="3"/>
            <a:endCxn id="99" idx="0"/>
          </p:cNvCxnSpPr>
          <p:nvPr/>
        </p:nvCxnSpPr>
        <p:spPr>
          <a:xfrm>
            <a:off x="6613630" y="3578844"/>
            <a:ext cx="1830185" cy="1360623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8" name="Straight Arrow Connector 115"/>
          <p:cNvCxnSpPr>
            <a:stCxn id="66" idx="3"/>
            <a:endCxn id="100" idx="0"/>
          </p:cNvCxnSpPr>
          <p:nvPr/>
        </p:nvCxnSpPr>
        <p:spPr>
          <a:xfrm>
            <a:off x="6613630" y="3578844"/>
            <a:ext cx="3355340" cy="1360623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09" name="Straight Arrow Connector 116"/>
          <p:cNvCxnSpPr>
            <a:stCxn id="64" idx="3"/>
            <a:endCxn id="99" idx="0"/>
          </p:cNvCxnSpPr>
          <p:nvPr/>
        </p:nvCxnSpPr>
        <p:spPr>
          <a:xfrm>
            <a:off x="4478412" y="3586038"/>
            <a:ext cx="3965403" cy="1353428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cxnSp>
        <p:nvCxnSpPr>
          <p:cNvPr id="110" name="Straight Arrow Connector 117"/>
          <p:cNvCxnSpPr>
            <a:stCxn id="64" idx="3"/>
            <a:endCxn id="100" idx="0"/>
          </p:cNvCxnSpPr>
          <p:nvPr/>
        </p:nvCxnSpPr>
        <p:spPr>
          <a:xfrm>
            <a:off x="4478412" y="3586038"/>
            <a:ext cx="5490558" cy="1353428"/>
          </a:xfrm>
          <a:prstGeom prst="straightConnector1">
            <a:avLst/>
          </a:prstGeom>
          <a:noFill/>
          <a:ln w="9525" cap="flat" cmpd="sng" algn="ctr">
            <a:solidFill>
              <a:srgbClr val="0072C6"/>
            </a:solidFill>
            <a:prstDash val="solid"/>
            <a:tailEnd type="stealth"/>
          </a:ln>
          <a:effectLst/>
        </p:spPr>
      </p:cxnSp>
      <p:graphicFrame>
        <p:nvGraphicFramePr>
          <p:cNvPr id="111" name="Table 78"/>
          <p:cNvGraphicFramePr>
            <a:graphicFrameLocks noGrp="1"/>
          </p:cNvGraphicFramePr>
          <p:nvPr>
            <p:extLst/>
          </p:nvPr>
        </p:nvGraphicFramePr>
        <p:xfrm>
          <a:off x="9293943" y="5321191"/>
          <a:ext cx="1517748" cy="248694"/>
        </p:xfrm>
        <a:graphic>
          <a:graphicData uri="http://schemas.openxmlformats.org/drawingml/2006/table">
            <a:tbl>
              <a:tblPr firstRow="1" bandRow="1"/>
              <a:tblGrid>
                <a:gridCol w="6949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8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Suppor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69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2" name="Table 83"/>
          <p:cNvGraphicFramePr>
            <a:graphicFrameLocks noGrp="1"/>
          </p:cNvGraphicFramePr>
          <p:nvPr>
            <p:extLst/>
          </p:nvPr>
        </p:nvGraphicFramePr>
        <p:xfrm>
          <a:off x="6243632" y="5313220"/>
          <a:ext cx="1537177" cy="248694"/>
        </p:xfrm>
        <a:graphic>
          <a:graphicData uri="http://schemas.openxmlformats.org/drawingml/2006/table">
            <a:tbl>
              <a:tblPr firstRow="1" bandRow="1"/>
              <a:tblGrid>
                <a:gridCol w="7143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8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Warranty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830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4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8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3" name="Table 84"/>
          <p:cNvGraphicFramePr>
            <a:graphicFrameLocks noGrp="1"/>
          </p:cNvGraphicFramePr>
          <p:nvPr>
            <p:extLst/>
          </p:nvPr>
        </p:nvGraphicFramePr>
        <p:xfrm>
          <a:off x="7768788" y="5317982"/>
          <a:ext cx="1517748" cy="248694"/>
        </p:xfrm>
        <a:graphic>
          <a:graphicData uri="http://schemas.openxmlformats.org/drawingml/2006/table">
            <a:tbl>
              <a:tblPr firstRow="1" bandRow="1"/>
              <a:tblGrid>
                <a:gridCol w="6949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8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Lawsui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330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3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4" name="Table 85"/>
          <p:cNvGraphicFramePr>
            <a:graphicFrameLocks noGrp="1"/>
          </p:cNvGraphicFramePr>
          <p:nvPr>
            <p:extLst/>
          </p:nvPr>
        </p:nvGraphicFramePr>
        <p:xfrm>
          <a:off x="4718477" y="5317982"/>
          <a:ext cx="1517748" cy="245660"/>
        </p:xfrm>
        <a:graphic>
          <a:graphicData uri="http://schemas.openxmlformats.org/drawingml/2006/table">
            <a:tbl>
              <a:tblPr firstRow="1" bandRow="1"/>
              <a:tblGrid>
                <a:gridCol w="6949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8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Servi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6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5" name="Table 86"/>
          <p:cNvGraphicFramePr>
            <a:graphicFrameLocks noGrp="1"/>
          </p:cNvGraphicFramePr>
          <p:nvPr>
            <p:extLst/>
          </p:nvPr>
        </p:nvGraphicFramePr>
        <p:xfrm>
          <a:off x="3182209" y="5313220"/>
          <a:ext cx="1535559" cy="245660"/>
        </p:xfrm>
        <a:graphic>
          <a:graphicData uri="http://schemas.openxmlformats.org/drawingml/2006/table">
            <a:tbl>
              <a:tblPr firstRow="1" bandRow="1"/>
              <a:tblGrid>
                <a:gridCol w="784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07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Complain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5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6" name="Table 87"/>
          <p:cNvGraphicFramePr>
            <a:graphicFrameLocks noGrp="1"/>
          </p:cNvGraphicFramePr>
          <p:nvPr>
            <p:extLst/>
          </p:nvPr>
        </p:nvGraphicFramePr>
        <p:xfrm>
          <a:off x="10819098" y="5316854"/>
          <a:ext cx="1517748" cy="248694"/>
        </p:xfrm>
        <a:graphic>
          <a:graphicData uri="http://schemas.openxmlformats.org/drawingml/2006/table">
            <a:tbl>
              <a:tblPr firstRow="1" bandRow="1"/>
              <a:tblGrid>
                <a:gridCol w="6949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8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Tax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b="0" dirty="0"/>
                        <a:t>23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7" name="Title 2"/>
          <p:cNvSpPr txBox="1">
            <a:spLocks/>
          </p:cNvSpPr>
          <p:nvPr/>
        </p:nvSpPr>
        <p:spPr bwMode="ltGray">
          <a:xfrm>
            <a:off x="274640" y="1570636"/>
            <a:ext cx="2766168" cy="4898441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rgbClr val="0072C6"/>
          </a:solidFill>
          <a:ln>
            <a:noFill/>
          </a:ln>
          <a:extLst/>
        </p:spPr>
        <p:txBody>
          <a:bodyPr vert="horz" wrap="square" lIns="326473" tIns="886140" rIns="274320" bIns="88614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cap="none" spc="-204" baseline="0" dirty="0">
                <a:ln w="3175">
                  <a:noFill/>
                </a:ln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Reducer</a:t>
            </a: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는</a:t>
            </a: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 </a:t>
            </a: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병렬로 각자의 동작을 수행</a:t>
            </a:r>
            <a:endParaRPr kumimoji="0" lang="en-US" altLang="ko-KR" sz="21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각 </a:t>
            </a:r>
            <a:r>
              <a:rPr kumimoji="0" lang="en-US" altLang="ko-KR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Reducer</a:t>
            </a: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의 출력은 단일 임시 테이블로 합계됨</a:t>
            </a:r>
            <a:endParaRPr kumimoji="0" lang="en-US" altLang="ko-KR" sz="21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  <a:p>
            <a:pPr marL="342900" marR="0" lvl="0" indent="-342900" algn="l" defTabSz="93274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100" b="0" i="0" u="none" strike="noStrike" kern="0" cap="none" spc="0" normalizeH="0" baseline="0" noProof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Arial" charset="0"/>
              </a:rPr>
              <a:t>출력 결과는 출력 파일로 게시됨</a:t>
            </a:r>
            <a:endParaRPr kumimoji="0" lang="en-US" altLang="ko-KR" sz="2100" b="0" i="0" u="none" strike="noStrike" kern="0" cap="none" spc="0" normalizeH="0" baseline="0" noProof="0">
              <a:ln w="3175"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Arial" charset="0"/>
            </a:endParaRPr>
          </a:p>
        </p:txBody>
      </p:sp>
      <p:graphicFrame>
        <p:nvGraphicFramePr>
          <p:cNvPr id="118" name="Table 92"/>
          <p:cNvGraphicFramePr>
            <a:graphicFrameLocks noGrp="1"/>
          </p:cNvGraphicFramePr>
          <p:nvPr>
            <p:extLst/>
          </p:nvPr>
        </p:nvGraphicFramePr>
        <p:xfrm>
          <a:off x="6912649" y="4905743"/>
          <a:ext cx="1664423" cy="1909895"/>
        </p:xfrm>
        <a:graphic>
          <a:graphicData uri="http://schemas.openxmlformats.org/drawingml/2006/table">
            <a:tbl>
              <a:tblPr firstRow="1" bandRow="1"/>
              <a:tblGrid>
                <a:gridCol w="848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60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4128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Keyword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Occurren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Suppor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69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2359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Service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6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Warranty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830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4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8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2297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Complain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5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2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Lawsuit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3300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3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8694"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Tax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/>
                    </a:solidFill>
                  </a:tcPr>
                </a:tc>
                <a:tc>
                  <a:txBody>
                    <a:bodyPr/>
                    <a:lstStyle>
                      <a:lvl1pPr marL="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29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597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8895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193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491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7790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088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386" algn="l" defTabSz="932597" rtl="0" eaLnBrk="1" latinLnBrk="1" hangingPunct="1">
                        <a:defRPr sz="1836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93260" marR="93260" marT="46630" marB="4663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8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4167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4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5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6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5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8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6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CF2"/>
                                      </p:to>
                                    </p:animClr>
                                    <p:set>
                                      <p:cBhvr>
                                        <p:cTn id="6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3646E-6 -3.88561E-6 L -0.25019 0.10781 " pathEditMode="relative" rAng="0" ptsTypes="AA">
                                      <p:cBhvr>
                                        <p:cTn id="68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10" y="5379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5537E-6 9.30549E-7 L 0.08195 0.10781 " pathEditMode="relative" rAng="0" ptsTypes="AA">
                                      <p:cBhvr>
                                        <p:cTn id="70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98" y="5379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2586E-6 4.08534E-8 L -0.08476 0.10781 " pathEditMode="relative" rAng="0" ptsTypes="AA">
                                      <p:cBhvr>
                                        <p:cTn id="72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38" y="5379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792E-6 -3.51793E-6 L 0.2484 0.10781 " pathEditMode="relative" rAng="0" ptsTypes="AA">
                                      <p:cBhvr>
                                        <p:cTn id="74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20" y="5379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7.65892E-9 -2.10622E-6 L 0.41499 0.10781 " pathEditMode="relative" rAng="0" ptsTypes="AA">
                                      <p:cBhvr>
                                        <p:cTn id="76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743" y="5379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4749E-6 -2.99591E-6 L -0.41575 0.10781 " pathEditMode="relative" rAng="0" ptsTypes="AA">
                                      <p:cBhvr>
                                        <p:cTn id="78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794" y="53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8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8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86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7" dur="500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2" dur="500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7" dur="500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2" dur="5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7" dur="500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2" dur="500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3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800" accel="100000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800" accel="100000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-9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200" decel="100000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200" decel="100000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800" accel="100000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+0.4+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800" accel="100000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0.4-0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2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7FBA00"/>
                                      </p:to>
                                    </p:animClr>
                                    <p:set>
                                      <p:cBhvr>
                                        <p:cTn id="133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4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9" grpId="0" animBg="1"/>
      <p:bldP spid="70" grpId="0" animBg="1"/>
      <p:bldP spid="71" grpId="0" animBg="1"/>
      <p:bldP spid="72" grpId="0" animBg="1"/>
      <p:bldP spid="99" grpId="0" animBg="1"/>
      <p:bldP spid="10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err="1"/>
              <a:t>Wordcount</a:t>
            </a:r>
            <a:r>
              <a:rPr lang="ko-KR" altLang="en-US" dirty="0"/>
              <a:t>가 끝난 다음에는</a:t>
            </a:r>
            <a:r>
              <a:rPr lang="en-US" altLang="ko-KR" dirty="0"/>
              <a:t>?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ko-KR" altLang="en-US" dirty="0"/>
              <a:t>역 색인</a:t>
            </a:r>
            <a:endParaRPr lang="en-US" altLang="ko-KR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ko-KR" altLang="en-US" dirty="0"/>
              <a:t>분산 데이터 정리</a:t>
            </a:r>
            <a:endParaRPr lang="en-US" altLang="ko-KR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ko-KR" altLang="en-US" dirty="0"/>
              <a:t>데이터 변환</a:t>
            </a:r>
            <a:endParaRPr lang="en-US" altLang="ko-KR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ko-KR" altLang="en-US" dirty="0"/>
              <a:t>머신 러닝 알고리즘</a:t>
            </a:r>
            <a:endParaRPr lang="en-US" altLang="ko-KR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ko-KR" altLang="en-US" dirty="0"/>
              <a:t>전통적인 분석</a:t>
            </a:r>
            <a:endParaRPr lang="en-US" altLang="ko-KR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ko-KR" altLang="en-US" dirty="0"/>
              <a:t>예측 분석</a:t>
            </a:r>
          </a:p>
        </p:txBody>
      </p:sp>
    </p:spTree>
    <p:extLst>
      <p:ext uri="{BB962C8B-B14F-4D97-AF65-F5344CB8AC3E}">
        <p14:creationId xmlns:p14="http://schemas.microsoft.com/office/powerpoint/2010/main" val="23102391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YAR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ko-KR" altLang="en-US" sz="3200" dirty="0"/>
              <a:t>클러스터 리소스 관리</a:t>
            </a:r>
            <a:endParaRPr lang="en-US" altLang="ko-KR" sz="3200" dirty="0"/>
          </a:p>
          <a:p>
            <a:pPr lvl="1"/>
            <a:r>
              <a:rPr lang="ko-KR" altLang="en-US" sz="2000" dirty="0"/>
              <a:t>모든 프로젝트에 접근할 수 있는 </a:t>
            </a:r>
            <a:r>
              <a:rPr lang="en-US" altLang="ko-KR" sz="2000" dirty="0"/>
              <a:t>MapReduce</a:t>
            </a:r>
            <a:r>
              <a:rPr lang="ko-KR" altLang="en-US" sz="2000" dirty="0"/>
              <a:t>에서 배타적으로 사용할 수 있는 모든 클러스터 리소스 관리를 분리</a:t>
            </a:r>
            <a:endParaRPr lang="en-US" altLang="ko-KR" sz="2000" dirty="0"/>
          </a:p>
          <a:p>
            <a:pPr lvl="1"/>
            <a:r>
              <a:rPr lang="en-US" altLang="ko-KR" sz="2000" dirty="0"/>
              <a:t>Hadoop</a:t>
            </a:r>
            <a:r>
              <a:rPr lang="ko-KR" altLang="en-US" sz="2000" dirty="0"/>
              <a:t>을 넓은 범위에서 모든 엔진을 위한 일반적인 플랫폼으로 만듦</a:t>
            </a:r>
            <a:endParaRPr lang="en-US" altLang="ko-KR" sz="2000" dirty="0"/>
          </a:p>
          <a:p>
            <a:pPr lvl="1"/>
            <a:r>
              <a:rPr lang="en-US" altLang="ko-KR" sz="2000" dirty="0"/>
              <a:t>Hadoop</a:t>
            </a:r>
            <a:r>
              <a:rPr lang="ko-KR" altLang="en-US" sz="2000" dirty="0"/>
              <a:t>에서 동일한 일반적인 리소스 관리로 여러 응용프로그램을 실행</a:t>
            </a:r>
          </a:p>
        </p:txBody>
      </p:sp>
      <p:grpSp>
        <p:nvGrpSpPr>
          <p:cNvPr id="20" name="Group 3"/>
          <p:cNvGrpSpPr/>
          <p:nvPr/>
        </p:nvGrpSpPr>
        <p:grpSpPr>
          <a:xfrm>
            <a:off x="422256" y="3208043"/>
            <a:ext cx="11303559" cy="3447153"/>
            <a:chOff x="430722" y="3271874"/>
            <a:chExt cx="11530219" cy="3516276"/>
          </a:xfrm>
        </p:grpSpPr>
        <p:sp>
          <p:nvSpPr>
            <p:cNvPr id="21" name="Rectangle 166"/>
            <p:cNvSpPr/>
            <p:nvPr>
              <p:custDataLst>
                <p:tags r:id="rId1"/>
              </p:custDataLst>
            </p:nvPr>
          </p:nvSpPr>
          <p:spPr bwMode="auto">
            <a:xfrm>
              <a:off x="430722" y="3271874"/>
              <a:ext cx="11530219" cy="3516276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89639" tIns="89642" rIns="89639" bIns="4481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80000"/>
                <a:buFontTx/>
                <a:buNone/>
                <a:tabLst/>
                <a:defRPr/>
              </a:pPr>
              <a:endParaRPr kumimoji="0" lang="en-US" sz="1372" b="1" i="0" u="none" strike="noStrike" kern="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2" name="Group 6"/>
            <p:cNvGrpSpPr/>
            <p:nvPr/>
          </p:nvGrpSpPr>
          <p:grpSpPr>
            <a:xfrm>
              <a:off x="2127263" y="3290122"/>
              <a:ext cx="7937867" cy="3364303"/>
              <a:chOff x="2127263" y="3219060"/>
              <a:chExt cx="7937867" cy="3364303"/>
            </a:xfrm>
          </p:grpSpPr>
          <p:grpSp>
            <p:nvGrpSpPr>
              <p:cNvPr id="23" name="Group 4"/>
              <p:cNvGrpSpPr/>
              <p:nvPr/>
            </p:nvGrpSpPr>
            <p:grpSpPr>
              <a:xfrm>
                <a:off x="2875512" y="3735486"/>
                <a:ext cx="7189618" cy="2847877"/>
                <a:chOff x="2875513" y="4394130"/>
                <a:chExt cx="4715396" cy="1867814"/>
              </a:xfrm>
            </p:grpSpPr>
            <p:sp>
              <p:nvSpPr>
                <p:cNvPr id="26" name="Rectangle 153"/>
                <p:cNvSpPr>
                  <a:spLocks/>
                </p:cNvSpPr>
                <p:nvPr/>
              </p:nvSpPr>
              <p:spPr>
                <a:xfrm>
                  <a:off x="2875514" y="5148509"/>
                  <a:ext cx="4715239" cy="530728"/>
                </a:xfrm>
                <a:prstGeom prst="rect">
                  <a:avLst/>
                </a:prstGeom>
                <a:solidFill>
                  <a:srgbClr val="008272">
                    <a:lumMod val="75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79285" tIns="134464" rIns="179285" rtlCol="0" anchor="ctr" anchorCtr="0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61" b="0" i="0" u="none" strike="noStrike" kern="120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YARN (Cluster Resource Management)</a:t>
                  </a:r>
                </a:p>
              </p:txBody>
            </p:sp>
            <p:sp>
              <p:nvSpPr>
                <p:cNvPr id="27" name="Rounded Rectangle 37"/>
                <p:cNvSpPr>
                  <a:spLocks/>
                </p:cNvSpPr>
                <p:nvPr/>
              </p:nvSpPr>
              <p:spPr>
                <a:xfrm>
                  <a:off x="3454148" y="4394130"/>
                  <a:ext cx="548640" cy="81785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7928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+mn-ea"/>
                      <a:cs typeface="Segoe UI Semibold" panose="020B0702040204020203" pitchFamily="34" charset="0"/>
                    </a:rPr>
                    <a:t>Interactive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/>
                  </a:r>
                  <a:b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</a:b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(</a:t>
                  </a:r>
                  <a:r>
                    <a:rPr kumimoji="0" lang="en-US" sz="98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Tez</a:t>
                  </a: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)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</p:txBody>
            </p:sp>
            <p:sp>
              <p:nvSpPr>
                <p:cNvPr id="28" name="Rounded Rectangle 37"/>
                <p:cNvSpPr>
                  <a:spLocks/>
                </p:cNvSpPr>
                <p:nvPr/>
              </p:nvSpPr>
              <p:spPr>
                <a:xfrm>
                  <a:off x="6334624" y="4394130"/>
                  <a:ext cx="548640" cy="81785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7928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+mn-ea"/>
                      <a:cs typeface="Segoe UI Semibold" panose="020B0702040204020203" pitchFamily="34" charset="0"/>
                    </a:rPr>
                    <a:t>HPC MPI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(</a:t>
                  </a:r>
                  <a:r>
                    <a:rPr kumimoji="0" lang="en-US" sz="98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OpenMPI</a:t>
                  </a: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)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</p:txBody>
            </p:sp>
            <p:sp>
              <p:nvSpPr>
                <p:cNvPr id="29" name="Rounded Rectangle 37"/>
                <p:cNvSpPr>
                  <a:spLocks/>
                </p:cNvSpPr>
                <p:nvPr/>
              </p:nvSpPr>
              <p:spPr>
                <a:xfrm>
                  <a:off x="4032783" y="4394130"/>
                  <a:ext cx="548640" cy="81785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7928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+mn-ea"/>
                      <a:cs typeface="Segoe UI Semibold" panose="020B0702040204020203" pitchFamily="34" charset="0"/>
                    </a:rPr>
                    <a:t>Online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(</a:t>
                  </a:r>
                  <a:r>
                    <a:rPr kumimoji="0" lang="en-US" sz="98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Hbase</a:t>
                  </a: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)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</p:txBody>
            </p:sp>
            <p:sp>
              <p:nvSpPr>
                <p:cNvPr id="30" name="Rounded Rectangle 37"/>
                <p:cNvSpPr>
                  <a:spLocks/>
                </p:cNvSpPr>
                <p:nvPr/>
              </p:nvSpPr>
              <p:spPr>
                <a:xfrm>
                  <a:off x="4611418" y="4394130"/>
                  <a:ext cx="548640" cy="81785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7928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+mn-ea"/>
                      <a:cs typeface="Segoe UI Semibold" panose="020B0702040204020203" pitchFamily="34" charset="0"/>
                    </a:rPr>
                    <a:t>Streaming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(Storm, S4,…)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</p:txBody>
            </p:sp>
            <p:sp>
              <p:nvSpPr>
                <p:cNvPr id="31" name="Rounded Rectangle 37"/>
                <p:cNvSpPr>
                  <a:spLocks/>
                </p:cNvSpPr>
                <p:nvPr/>
              </p:nvSpPr>
              <p:spPr>
                <a:xfrm>
                  <a:off x="5190053" y="4394130"/>
                  <a:ext cx="548640" cy="81785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7928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+mn-ea"/>
                      <a:cs typeface="Segoe UI Semibold" panose="020B0702040204020203" pitchFamily="34" charset="0"/>
                    </a:rPr>
                    <a:t>Graph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29" b="1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 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(</a:t>
                  </a:r>
                  <a:r>
                    <a:rPr kumimoji="0" lang="en-US" sz="98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Giraph</a:t>
                  </a: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)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</p:txBody>
            </p:sp>
            <p:sp>
              <p:nvSpPr>
                <p:cNvPr id="32" name="Rounded Rectangle 37"/>
                <p:cNvSpPr>
                  <a:spLocks/>
                </p:cNvSpPr>
                <p:nvPr/>
              </p:nvSpPr>
              <p:spPr>
                <a:xfrm>
                  <a:off x="6913262" y="4394130"/>
                  <a:ext cx="677647" cy="81785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 w="9525" cap="flat" cmpd="sng" algn="ctr">
                  <a:noFill/>
                  <a:prstDash val="dash"/>
                </a:ln>
                <a:effectLst/>
              </p:spPr>
              <p:txBody>
                <a:bodyPr lIns="17928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+mn-ea"/>
                      <a:cs typeface="Segoe UI Semibold" panose="020B0702040204020203" pitchFamily="34" charset="0"/>
                    </a:rPr>
                    <a:t>Others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(Search) (Weave…)</a:t>
                  </a:r>
                </a:p>
              </p:txBody>
            </p:sp>
            <p:sp>
              <p:nvSpPr>
                <p:cNvPr id="33" name="Rounded Rectangle 37"/>
                <p:cNvSpPr>
                  <a:spLocks/>
                </p:cNvSpPr>
                <p:nvPr/>
              </p:nvSpPr>
              <p:spPr>
                <a:xfrm>
                  <a:off x="2875513" y="4394130"/>
                  <a:ext cx="548640" cy="81785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7928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+mn-ea"/>
                      <a:cs typeface="Segoe UI Semibold" panose="020B0702040204020203" pitchFamily="34" charset="0"/>
                    </a:rPr>
                    <a:t>Batch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(</a:t>
                  </a:r>
                  <a:r>
                    <a:rPr kumimoji="0" lang="en-US" sz="98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MapReduce</a:t>
                  </a: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)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</p:txBody>
            </p:sp>
            <p:sp>
              <p:nvSpPr>
                <p:cNvPr id="34" name="Rectangle 161"/>
                <p:cNvSpPr/>
                <p:nvPr/>
              </p:nvSpPr>
              <p:spPr>
                <a:xfrm>
                  <a:off x="2875513" y="5736147"/>
                  <a:ext cx="4715396" cy="525797"/>
                </a:xfrm>
                <a:prstGeom prst="rect">
                  <a:avLst/>
                </a:prstGeom>
                <a:solidFill>
                  <a:srgbClr val="000000">
                    <a:alpha val="13000"/>
                  </a:srgbClr>
                </a:solidFill>
                <a:ln w="28575" cap="flat" cmpd="sng" algn="ctr">
                  <a:noFill/>
                  <a:prstDash val="solid"/>
                </a:ln>
                <a:effectLst/>
              </p:spPr>
              <p:txBody>
                <a:bodyPr vert="horz" lIns="179285" tIns="206178" rIns="179285" bIns="143428" rtlCol="0" anchor="t" anchorCtr="0"/>
                <a:lstStyle/>
                <a:p>
                  <a:pPr marL="0" marR="0" lvl="0" indent="0" defTabSz="448193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61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000000"/>
                          </a:gs>
                          <a:gs pos="100000">
                            <a:srgbClr val="000000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HDFS2  (Redundant, Reliable Storage)</a:t>
                  </a:r>
                </a:p>
              </p:txBody>
            </p:sp>
            <p:sp>
              <p:nvSpPr>
                <p:cNvPr id="35" name="Rounded Rectangle 37"/>
                <p:cNvSpPr>
                  <a:spLocks/>
                </p:cNvSpPr>
                <p:nvPr/>
              </p:nvSpPr>
              <p:spPr>
                <a:xfrm>
                  <a:off x="5760163" y="4394130"/>
                  <a:ext cx="548640" cy="817853"/>
                </a:xfrm>
                <a:custGeom>
                  <a:avLst/>
                  <a:gdLst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100841"/>
                    <a:gd name="connsiteX1" fmla="*/ 28501 w 494985"/>
                    <a:gd name="connsiteY1" fmla="*/ 0 h 1100841"/>
                    <a:gd name="connsiteX2" fmla="*/ 466484 w 494985"/>
                    <a:gd name="connsiteY2" fmla="*/ 0 h 1100841"/>
                    <a:gd name="connsiteX3" fmla="*/ 494985 w 494985"/>
                    <a:gd name="connsiteY3" fmla="*/ 28501 h 1100841"/>
                    <a:gd name="connsiteX4" fmla="*/ 494985 w 494985"/>
                    <a:gd name="connsiteY4" fmla="*/ 1006985 h 1100841"/>
                    <a:gd name="connsiteX5" fmla="*/ 466484 w 494985"/>
                    <a:gd name="connsiteY5" fmla="*/ 1035486 h 1100841"/>
                    <a:gd name="connsiteX6" fmla="*/ 202850 w 494985"/>
                    <a:gd name="connsiteY6" fmla="*/ 1100839 h 1100841"/>
                    <a:gd name="connsiteX7" fmla="*/ 28501 w 494985"/>
                    <a:gd name="connsiteY7" fmla="*/ 1035486 h 1100841"/>
                    <a:gd name="connsiteX8" fmla="*/ 0 w 494985"/>
                    <a:gd name="connsiteY8" fmla="*/ 1006985 h 1100841"/>
                    <a:gd name="connsiteX9" fmla="*/ 0 w 494985"/>
                    <a:gd name="connsiteY9" fmla="*/ 28501 h 1100841"/>
                    <a:gd name="connsiteX0" fmla="*/ 0 w 494985"/>
                    <a:gd name="connsiteY0" fmla="*/ 28501 h 1122703"/>
                    <a:gd name="connsiteX1" fmla="*/ 28501 w 494985"/>
                    <a:gd name="connsiteY1" fmla="*/ 0 h 1122703"/>
                    <a:gd name="connsiteX2" fmla="*/ 466484 w 494985"/>
                    <a:gd name="connsiteY2" fmla="*/ 0 h 1122703"/>
                    <a:gd name="connsiteX3" fmla="*/ 494985 w 494985"/>
                    <a:gd name="connsiteY3" fmla="*/ 28501 h 1122703"/>
                    <a:gd name="connsiteX4" fmla="*/ 494985 w 494985"/>
                    <a:gd name="connsiteY4" fmla="*/ 1006985 h 1122703"/>
                    <a:gd name="connsiteX5" fmla="*/ 466484 w 494985"/>
                    <a:gd name="connsiteY5" fmla="*/ 1035486 h 1122703"/>
                    <a:gd name="connsiteX6" fmla="*/ 326675 w 494985"/>
                    <a:gd name="connsiteY6" fmla="*/ 1119889 h 1122703"/>
                    <a:gd name="connsiteX7" fmla="*/ 202850 w 494985"/>
                    <a:gd name="connsiteY7" fmla="*/ 1100839 h 1122703"/>
                    <a:gd name="connsiteX8" fmla="*/ 28501 w 494985"/>
                    <a:gd name="connsiteY8" fmla="*/ 1035486 h 1122703"/>
                    <a:gd name="connsiteX9" fmla="*/ 0 w 494985"/>
                    <a:gd name="connsiteY9" fmla="*/ 1006985 h 1122703"/>
                    <a:gd name="connsiteX10" fmla="*/ 0 w 494985"/>
                    <a:gd name="connsiteY10" fmla="*/ 28501 h 1122703"/>
                    <a:gd name="connsiteX0" fmla="*/ 0 w 494985"/>
                    <a:gd name="connsiteY0" fmla="*/ 28501 h 1120138"/>
                    <a:gd name="connsiteX1" fmla="*/ 28501 w 494985"/>
                    <a:gd name="connsiteY1" fmla="*/ 0 h 1120138"/>
                    <a:gd name="connsiteX2" fmla="*/ 466484 w 494985"/>
                    <a:gd name="connsiteY2" fmla="*/ 0 h 1120138"/>
                    <a:gd name="connsiteX3" fmla="*/ 494985 w 494985"/>
                    <a:gd name="connsiteY3" fmla="*/ 28501 h 1120138"/>
                    <a:gd name="connsiteX4" fmla="*/ 494985 w 494985"/>
                    <a:gd name="connsiteY4" fmla="*/ 1006985 h 1120138"/>
                    <a:gd name="connsiteX5" fmla="*/ 466484 w 494985"/>
                    <a:gd name="connsiteY5" fmla="*/ 1035486 h 1120138"/>
                    <a:gd name="connsiteX6" fmla="*/ 364775 w 494985"/>
                    <a:gd name="connsiteY6" fmla="*/ 1062739 h 1120138"/>
                    <a:gd name="connsiteX7" fmla="*/ 326675 w 494985"/>
                    <a:gd name="connsiteY7" fmla="*/ 1119889 h 1120138"/>
                    <a:gd name="connsiteX8" fmla="*/ 202850 w 494985"/>
                    <a:gd name="connsiteY8" fmla="*/ 1100839 h 1120138"/>
                    <a:gd name="connsiteX9" fmla="*/ 28501 w 494985"/>
                    <a:gd name="connsiteY9" fmla="*/ 1035486 h 1120138"/>
                    <a:gd name="connsiteX10" fmla="*/ 0 w 494985"/>
                    <a:gd name="connsiteY10" fmla="*/ 1006985 h 1120138"/>
                    <a:gd name="connsiteX11" fmla="*/ 0 w 494985"/>
                    <a:gd name="connsiteY11" fmla="*/ 28501 h 1120138"/>
                    <a:gd name="connsiteX0" fmla="*/ 0 w 494985"/>
                    <a:gd name="connsiteY0" fmla="*/ 28501 h 1126828"/>
                    <a:gd name="connsiteX1" fmla="*/ 28501 w 494985"/>
                    <a:gd name="connsiteY1" fmla="*/ 0 h 1126828"/>
                    <a:gd name="connsiteX2" fmla="*/ 466484 w 494985"/>
                    <a:gd name="connsiteY2" fmla="*/ 0 h 1126828"/>
                    <a:gd name="connsiteX3" fmla="*/ 494985 w 494985"/>
                    <a:gd name="connsiteY3" fmla="*/ 28501 h 1126828"/>
                    <a:gd name="connsiteX4" fmla="*/ 494985 w 494985"/>
                    <a:gd name="connsiteY4" fmla="*/ 1006985 h 1126828"/>
                    <a:gd name="connsiteX5" fmla="*/ 466484 w 494985"/>
                    <a:gd name="connsiteY5" fmla="*/ 1035486 h 1126828"/>
                    <a:gd name="connsiteX6" fmla="*/ 364775 w 494985"/>
                    <a:gd name="connsiteY6" fmla="*/ 1062739 h 1126828"/>
                    <a:gd name="connsiteX7" fmla="*/ 326675 w 494985"/>
                    <a:gd name="connsiteY7" fmla="*/ 1119889 h 1126828"/>
                    <a:gd name="connsiteX8" fmla="*/ 212375 w 494985"/>
                    <a:gd name="connsiteY8" fmla="*/ 1124651 h 1126828"/>
                    <a:gd name="connsiteX9" fmla="*/ 28501 w 494985"/>
                    <a:gd name="connsiteY9" fmla="*/ 1035486 h 1126828"/>
                    <a:gd name="connsiteX10" fmla="*/ 0 w 494985"/>
                    <a:gd name="connsiteY10" fmla="*/ 1006985 h 1126828"/>
                    <a:gd name="connsiteX11" fmla="*/ 0 w 494985"/>
                    <a:gd name="connsiteY11" fmla="*/ 28501 h 1126828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45700 w 494985"/>
                    <a:gd name="connsiteY9" fmla="*/ 1038927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26922"/>
                    <a:gd name="connsiteX1" fmla="*/ 28501 w 494985"/>
                    <a:gd name="connsiteY1" fmla="*/ 0 h 1126922"/>
                    <a:gd name="connsiteX2" fmla="*/ 466484 w 494985"/>
                    <a:gd name="connsiteY2" fmla="*/ 0 h 1126922"/>
                    <a:gd name="connsiteX3" fmla="*/ 494985 w 494985"/>
                    <a:gd name="connsiteY3" fmla="*/ 28501 h 1126922"/>
                    <a:gd name="connsiteX4" fmla="*/ 494985 w 494985"/>
                    <a:gd name="connsiteY4" fmla="*/ 1006985 h 1126922"/>
                    <a:gd name="connsiteX5" fmla="*/ 466484 w 494985"/>
                    <a:gd name="connsiteY5" fmla="*/ 1035486 h 1126922"/>
                    <a:gd name="connsiteX6" fmla="*/ 364775 w 494985"/>
                    <a:gd name="connsiteY6" fmla="*/ 1062739 h 1126922"/>
                    <a:gd name="connsiteX7" fmla="*/ 326675 w 494985"/>
                    <a:gd name="connsiteY7" fmla="*/ 1119889 h 1126922"/>
                    <a:gd name="connsiteX8" fmla="*/ 212375 w 494985"/>
                    <a:gd name="connsiteY8" fmla="*/ 1124651 h 1126922"/>
                    <a:gd name="connsiteX9" fmla="*/ 150463 w 494985"/>
                    <a:gd name="connsiteY9" fmla="*/ 1053215 h 1126922"/>
                    <a:gd name="connsiteX10" fmla="*/ 28501 w 494985"/>
                    <a:gd name="connsiteY10" fmla="*/ 1035486 h 1126922"/>
                    <a:gd name="connsiteX11" fmla="*/ 0 w 494985"/>
                    <a:gd name="connsiteY11" fmla="*/ 1006985 h 1126922"/>
                    <a:gd name="connsiteX12" fmla="*/ 0 w 494985"/>
                    <a:gd name="connsiteY12" fmla="*/ 28501 h 1126922"/>
                    <a:gd name="connsiteX0" fmla="*/ 0 w 494985"/>
                    <a:gd name="connsiteY0" fmla="*/ 28501 h 1119930"/>
                    <a:gd name="connsiteX1" fmla="*/ 28501 w 494985"/>
                    <a:gd name="connsiteY1" fmla="*/ 0 h 1119930"/>
                    <a:gd name="connsiteX2" fmla="*/ 466484 w 494985"/>
                    <a:gd name="connsiteY2" fmla="*/ 0 h 1119930"/>
                    <a:gd name="connsiteX3" fmla="*/ 494985 w 494985"/>
                    <a:gd name="connsiteY3" fmla="*/ 28501 h 1119930"/>
                    <a:gd name="connsiteX4" fmla="*/ 494985 w 494985"/>
                    <a:gd name="connsiteY4" fmla="*/ 1006985 h 1119930"/>
                    <a:gd name="connsiteX5" fmla="*/ 466484 w 494985"/>
                    <a:gd name="connsiteY5" fmla="*/ 1035486 h 1119930"/>
                    <a:gd name="connsiteX6" fmla="*/ 364775 w 494985"/>
                    <a:gd name="connsiteY6" fmla="*/ 1062739 h 1119930"/>
                    <a:gd name="connsiteX7" fmla="*/ 326675 w 494985"/>
                    <a:gd name="connsiteY7" fmla="*/ 1119889 h 1119930"/>
                    <a:gd name="connsiteX8" fmla="*/ 150463 w 494985"/>
                    <a:gd name="connsiteY8" fmla="*/ 1053215 h 1119930"/>
                    <a:gd name="connsiteX9" fmla="*/ 28501 w 494985"/>
                    <a:gd name="connsiteY9" fmla="*/ 1035486 h 1119930"/>
                    <a:gd name="connsiteX10" fmla="*/ 0 w 494985"/>
                    <a:gd name="connsiteY10" fmla="*/ 1006985 h 1119930"/>
                    <a:gd name="connsiteX11" fmla="*/ 0 w 494985"/>
                    <a:gd name="connsiteY11" fmla="*/ 28501 h 1119930"/>
                    <a:gd name="connsiteX0" fmla="*/ 0 w 494985"/>
                    <a:gd name="connsiteY0" fmla="*/ 28501 h 1120193"/>
                    <a:gd name="connsiteX1" fmla="*/ 28501 w 494985"/>
                    <a:gd name="connsiteY1" fmla="*/ 0 h 1120193"/>
                    <a:gd name="connsiteX2" fmla="*/ 466484 w 494985"/>
                    <a:gd name="connsiteY2" fmla="*/ 0 h 1120193"/>
                    <a:gd name="connsiteX3" fmla="*/ 494985 w 494985"/>
                    <a:gd name="connsiteY3" fmla="*/ 28501 h 1120193"/>
                    <a:gd name="connsiteX4" fmla="*/ 494985 w 494985"/>
                    <a:gd name="connsiteY4" fmla="*/ 1006985 h 1120193"/>
                    <a:gd name="connsiteX5" fmla="*/ 466484 w 494985"/>
                    <a:gd name="connsiteY5" fmla="*/ 1035486 h 1120193"/>
                    <a:gd name="connsiteX6" fmla="*/ 364775 w 494985"/>
                    <a:gd name="connsiteY6" fmla="*/ 1062739 h 1120193"/>
                    <a:gd name="connsiteX7" fmla="*/ 326675 w 494985"/>
                    <a:gd name="connsiteY7" fmla="*/ 1119889 h 1120193"/>
                    <a:gd name="connsiteX8" fmla="*/ 28501 w 494985"/>
                    <a:gd name="connsiteY8" fmla="*/ 1035486 h 1120193"/>
                    <a:gd name="connsiteX9" fmla="*/ 0 w 494985"/>
                    <a:gd name="connsiteY9" fmla="*/ 1006985 h 1120193"/>
                    <a:gd name="connsiteX10" fmla="*/ 0 w 494985"/>
                    <a:gd name="connsiteY10" fmla="*/ 28501 h 1120193"/>
                    <a:gd name="connsiteX0" fmla="*/ 0 w 494985"/>
                    <a:gd name="connsiteY0" fmla="*/ 28501 h 1062739"/>
                    <a:gd name="connsiteX1" fmla="*/ 28501 w 494985"/>
                    <a:gd name="connsiteY1" fmla="*/ 0 h 1062739"/>
                    <a:gd name="connsiteX2" fmla="*/ 466484 w 494985"/>
                    <a:gd name="connsiteY2" fmla="*/ 0 h 1062739"/>
                    <a:gd name="connsiteX3" fmla="*/ 494985 w 494985"/>
                    <a:gd name="connsiteY3" fmla="*/ 28501 h 1062739"/>
                    <a:gd name="connsiteX4" fmla="*/ 494985 w 494985"/>
                    <a:gd name="connsiteY4" fmla="*/ 1006985 h 1062739"/>
                    <a:gd name="connsiteX5" fmla="*/ 466484 w 494985"/>
                    <a:gd name="connsiteY5" fmla="*/ 1035486 h 1062739"/>
                    <a:gd name="connsiteX6" fmla="*/ 364775 w 494985"/>
                    <a:gd name="connsiteY6" fmla="*/ 1062739 h 1062739"/>
                    <a:gd name="connsiteX7" fmla="*/ 28501 w 494985"/>
                    <a:gd name="connsiteY7" fmla="*/ 1035486 h 1062739"/>
                    <a:gd name="connsiteX8" fmla="*/ 0 w 494985"/>
                    <a:gd name="connsiteY8" fmla="*/ 1006985 h 1062739"/>
                    <a:gd name="connsiteX9" fmla="*/ 0 w 494985"/>
                    <a:gd name="connsiteY9" fmla="*/ 28501 h 1062739"/>
                    <a:gd name="connsiteX0" fmla="*/ 0 w 494985"/>
                    <a:gd name="connsiteY0" fmla="*/ 28501 h 1035486"/>
                    <a:gd name="connsiteX1" fmla="*/ 28501 w 494985"/>
                    <a:gd name="connsiteY1" fmla="*/ 0 h 1035486"/>
                    <a:gd name="connsiteX2" fmla="*/ 466484 w 494985"/>
                    <a:gd name="connsiteY2" fmla="*/ 0 h 1035486"/>
                    <a:gd name="connsiteX3" fmla="*/ 494985 w 494985"/>
                    <a:gd name="connsiteY3" fmla="*/ 28501 h 1035486"/>
                    <a:gd name="connsiteX4" fmla="*/ 494985 w 494985"/>
                    <a:gd name="connsiteY4" fmla="*/ 1006985 h 1035486"/>
                    <a:gd name="connsiteX5" fmla="*/ 466484 w 494985"/>
                    <a:gd name="connsiteY5" fmla="*/ 1035486 h 1035486"/>
                    <a:gd name="connsiteX6" fmla="*/ 28501 w 494985"/>
                    <a:gd name="connsiteY6" fmla="*/ 1035486 h 1035486"/>
                    <a:gd name="connsiteX7" fmla="*/ 0 w 494985"/>
                    <a:gd name="connsiteY7" fmla="*/ 1006985 h 1035486"/>
                    <a:gd name="connsiteX8" fmla="*/ 0 w 494985"/>
                    <a:gd name="connsiteY8" fmla="*/ 28501 h 1035486"/>
                    <a:gd name="connsiteX0" fmla="*/ 0 w 494985"/>
                    <a:gd name="connsiteY0" fmla="*/ 28501 h 1038340"/>
                    <a:gd name="connsiteX1" fmla="*/ 28501 w 494985"/>
                    <a:gd name="connsiteY1" fmla="*/ 0 h 1038340"/>
                    <a:gd name="connsiteX2" fmla="*/ 466484 w 494985"/>
                    <a:gd name="connsiteY2" fmla="*/ 0 h 1038340"/>
                    <a:gd name="connsiteX3" fmla="*/ 494985 w 494985"/>
                    <a:gd name="connsiteY3" fmla="*/ 28501 h 1038340"/>
                    <a:gd name="connsiteX4" fmla="*/ 494985 w 494985"/>
                    <a:gd name="connsiteY4" fmla="*/ 1006985 h 1038340"/>
                    <a:gd name="connsiteX5" fmla="*/ 466484 w 494985"/>
                    <a:gd name="connsiteY5" fmla="*/ 1035486 h 1038340"/>
                    <a:gd name="connsiteX6" fmla="*/ 153637 w 494985"/>
                    <a:gd name="connsiteY6" fmla="*/ 1037339 h 1038340"/>
                    <a:gd name="connsiteX7" fmla="*/ 28501 w 494985"/>
                    <a:gd name="connsiteY7" fmla="*/ 1035486 h 1038340"/>
                    <a:gd name="connsiteX8" fmla="*/ 0 w 494985"/>
                    <a:gd name="connsiteY8" fmla="*/ 1006985 h 1038340"/>
                    <a:gd name="connsiteX9" fmla="*/ 0 w 494985"/>
                    <a:gd name="connsiteY9" fmla="*/ 28501 h 1038340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274287 w 494985"/>
                    <a:gd name="connsiteY6" fmla="*/ 1037339 h 1038241"/>
                    <a:gd name="connsiteX7" fmla="*/ 153637 w 494985"/>
                    <a:gd name="connsiteY7" fmla="*/ 1037339 h 1038241"/>
                    <a:gd name="connsiteX8" fmla="*/ 28501 w 494985"/>
                    <a:gd name="connsiteY8" fmla="*/ 1035486 h 1038241"/>
                    <a:gd name="connsiteX9" fmla="*/ 0 w 494985"/>
                    <a:gd name="connsiteY9" fmla="*/ 1006985 h 1038241"/>
                    <a:gd name="connsiteX10" fmla="*/ 0 w 494985"/>
                    <a:gd name="connsiteY10" fmla="*/ 28501 h 1038241"/>
                    <a:gd name="connsiteX0" fmla="*/ 0 w 494985"/>
                    <a:gd name="connsiteY0" fmla="*/ 28501 h 1038241"/>
                    <a:gd name="connsiteX1" fmla="*/ 28501 w 494985"/>
                    <a:gd name="connsiteY1" fmla="*/ 0 h 1038241"/>
                    <a:gd name="connsiteX2" fmla="*/ 466484 w 494985"/>
                    <a:gd name="connsiteY2" fmla="*/ 0 h 1038241"/>
                    <a:gd name="connsiteX3" fmla="*/ 494985 w 494985"/>
                    <a:gd name="connsiteY3" fmla="*/ 28501 h 1038241"/>
                    <a:gd name="connsiteX4" fmla="*/ 494985 w 494985"/>
                    <a:gd name="connsiteY4" fmla="*/ 1006985 h 1038241"/>
                    <a:gd name="connsiteX5" fmla="*/ 466484 w 494985"/>
                    <a:gd name="connsiteY5" fmla="*/ 1035486 h 1038241"/>
                    <a:gd name="connsiteX6" fmla="*/ 369537 w 494985"/>
                    <a:gd name="connsiteY6" fmla="*/ 1030990 h 1038241"/>
                    <a:gd name="connsiteX7" fmla="*/ 274287 w 494985"/>
                    <a:gd name="connsiteY7" fmla="*/ 1037339 h 1038241"/>
                    <a:gd name="connsiteX8" fmla="*/ 153637 w 494985"/>
                    <a:gd name="connsiteY8" fmla="*/ 1037339 h 1038241"/>
                    <a:gd name="connsiteX9" fmla="*/ 28501 w 494985"/>
                    <a:gd name="connsiteY9" fmla="*/ 1035486 h 1038241"/>
                    <a:gd name="connsiteX10" fmla="*/ 0 w 494985"/>
                    <a:gd name="connsiteY10" fmla="*/ 1006985 h 1038241"/>
                    <a:gd name="connsiteX11" fmla="*/ 0 w 494985"/>
                    <a:gd name="connsiteY11" fmla="*/ 28501 h 1038241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0373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7189"/>
                    <a:gd name="connsiteX1" fmla="*/ 28501 w 494985"/>
                    <a:gd name="connsiteY1" fmla="*/ 0 h 1107189"/>
                    <a:gd name="connsiteX2" fmla="*/ 466484 w 494985"/>
                    <a:gd name="connsiteY2" fmla="*/ 0 h 1107189"/>
                    <a:gd name="connsiteX3" fmla="*/ 494985 w 494985"/>
                    <a:gd name="connsiteY3" fmla="*/ 28501 h 1107189"/>
                    <a:gd name="connsiteX4" fmla="*/ 494985 w 494985"/>
                    <a:gd name="connsiteY4" fmla="*/ 1006985 h 1107189"/>
                    <a:gd name="connsiteX5" fmla="*/ 466484 w 494985"/>
                    <a:gd name="connsiteY5" fmla="*/ 1035486 h 1107189"/>
                    <a:gd name="connsiteX6" fmla="*/ 369537 w 494985"/>
                    <a:gd name="connsiteY6" fmla="*/ 1030990 h 1107189"/>
                    <a:gd name="connsiteX7" fmla="*/ 274287 w 494985"/>
                    <a:gd name="connsiteY7" fmla="*/ 1100839 h 1107189"/>
                    <a:gd name="connsiteX8" fmla="*/ 159987 w 494985"/>
                    <a:gd name="connsiteY8" fmla="*/ 1107189 h 1107189"/>
                    <a:gd name="connsiteX9" fmla="*/ 28501 w 494985"/>
                    <a:gd name="connsiteY9" fmla="*/ 1035486 h 1107189"/>
                    <a:gd name="connsiteX10" fmla="*/ 0 w 494985"/>
                    <a:gd name="connsiteY10" fmla="*/ 1006985 h 1107189"/>
                    <a:gd name="connsiteX11" fmla="*/ 0 w 494985"/>
                    <a:gd name="connsiteY11" fmla="*/ 28501 h 110718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7605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50461 w 494985"/>
                    <a:gd name="connsiteY8" fmla="*/ 1040514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2742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9537 w 494985"/>
                    <a:gd name="connsiteY6" fmla="*/ 1030990 h 1100839"/>
                    <a:gd name="connsiteX7" fmla="*/ 198087 w 494985"/>
                    <a:gd name="connsiteY7" fmla="*/ 1100839 h 1100839"/>
                    <a:gd name="connsiteX8" fmla="*/ 148080 w 494985"/>
                    <a:gd name="connsiteY8" fmla="*/ 1033370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57"/>
                    <a:gd name="connsiteX1" fmla="*/ 28501 w 494985"/>
                    <a:gd name="connsiteY1" fmla="*/ 0 h 1100857"/>
                    <a:gd name="connsiteX2" fmla="*/ 466484 w 494985"/>
                    <a:gd name="connsiteY2" fmla="*/ 0 h 1100857"/>
                    <a:gd name="connsiteX3" fmla="*/ 494985 w 494985"/>
                    <a:gd name="connsiteY3" fmla="*/ 28501 h 1100857"/>
                    <a:gd name="connsiteX4" fmla="*/ 494985 w 494985"/>
                    <a:gd name="connsiteY4" fmla="*/ 1006985 h 1100857"/>
                    <a:gd name="connsiteX5" fmla="*/ 466484 w 494985"/>
                    <a:gd name="connsiteY5" fmla="*/ 1035486 h 1100857"/>
                    <a:gd name="connsiteX6" fmla="*/ 369537 w 494985"/>
                    <a:gd name="connsiteY6" fmla="*/ 1030990 h 1100857"/>
                    <a:gd name="connsiteX7" fmla="*/ 198087 w 494985"/>
                    <a:gd name="connsiteY7" fmla="*/ 1100839 h 1100857"/>
                    <a:gd name="connsiteX8" fmla="*/ 148080 w 494985"/>
                    <a:gd name="connsiteY8" fmla="*/ 1033370 h 1100857"/>
                    <a:gd name="connsiteX9" fmla="*/ 28501 w 494985"/>
                    <a:gd name="connsiteY9" fmla="*/ 1035486 h 1100857"/>
                    <a:gd name="connsiteX10" fmla="*/ 0 w 494985"/>
                    <a:gd name="connsiteY10" fmla="*/ 1006985 h 1100857"/>
                    <a:gd name="connsiteX11" fmla="*/ 0 w 494985"/>
                    <a:gd name="connsiteY11" fmla="*/ 28501 h 1100857"/>
                    <a:gd name="connsiteX0" fmla="*/ 0 w 494985"/>
                    <a:gd name="connsiteY0" fmla="*/ 28501 h 1101187"/>
                    <a:gd name="connsiteX1" fmla="*/ 28501 w 494985"/>
                    <a:gd name="connsiteY1" fmla="*/ 0 h 1101187"/>
                    <a:gd name="connsiteX2" fmla="*/ 466484 w 494985"/>
                    <a:gd name="connsiteY2" fmla="*/ 0 h 1101187"/>
                    <a:gd name="connsiteX3" fmla="*/ 494985 w 494985"/>
                    <a:gd name="connsiteY3" fmla="*/ 28501 h 1101187"/>
                    <a:gd name="connsiteX4" fmla="*/ 494985 w 494985"/>
                    <a:gd name="connsiteY4" fmla="*/ 1006985 h 1101187"/>
                    <a:gd name="connsiteX5" fmla="*/ 466484 w 494985"/>
                    <a:gd name="connsiteY5" fmla="*/ 1035486 h 1101187"/>
                    <a:gd name="connsiteX6" fmla="*/ 369537 w 494985"/>
                    <a:gd name="connsiteY6" fmla="*/ 1030990 h 1101187"/>
                    <a:gd name="connsiteX7" fmla="*/ 198087 w 494985"/>
                    <a:gd name="connsiteY7" fmla="*/ 1100839 h 1101187"/>
                    <a:gd name="connsiteX8" fmla="*/ 148080 w 494985"/>
                    <a:gd name="connsiteY8" fmla="*/ 1033370 h 1101187"/>
                    <a:gd name="connsiteX9" fmla="*/ 28501 w 494985"/>
                    <a:gd name="connsiteY9" fmla="*/ 1035486 h 1101187"/>
                    <a:gd name="connsiteX10" fmla="*/ 0 w 494985"/>
                    <a:gd name="connsiteY10" fmla="*/ 1006985 h 1101187"/>
                    <a:gd name="connsiteX11" fmla="*/ 0 w 494985"/>
                    <a:gd name="connsiteY11" fmla="*/ 28501 h 1101187"/>
                    <a:gd name="connsiteX0" fmla="*/ 0 w 494985"/>
                    <a:gd name="connsiteY0" fmla="*/ 28501 h 1101096"/>
                    <a:gd name="connsiteX1" fmla="*/ 28501 w 494985"/>
                    <a:gd name="connsiteY1" fmla="*/ 0 h 1101096"/>
                    <a:gd name="connsiteX2" fmla="*/ 466484 w 494985"/>
                    <a:gd name="connsiteY2" fmla="*/ 0 h 1101096"/>
                    <a:gd name="connsiteX3" fmla="*/ 494985 w 494985"/>
                    <a:gd name="connsiteY3" fmla="*/ 28501 h 1101096"/>
                    <a:gd name="connsiteX4" fmla="*/ 494985 w 494985"/>
                    <a:gd name="connsiteY4" fmla="*/ 1006985 h 1101096"/>
                    <a:gd name="connsiteX5" fmla="*/ 466484 w 494985"/>
                    <a:gd name="connsiteY5" fmla="*/ 1035486 h 1101096"/>
                    <a:gd name="connsiteX6" fmla="*/ 369537 w 494985"/>
                    <a:gd name="connsiteY6" fmla="*/ 1030990 h 1101096"/>
                    <a:gd name="connsiteX7" fmla="*/ 290956 w 494985"/>
                    <a:gd name="connsiteY7" fmla="*/ 1055596 h 1101096"/>
                    <a:gd name="connsiteX8" fmla="*/ 198087 w 494985"/>
                    <a:gd name="connsiteY8" fmla="*/ 1100839 h 1101096"/>
                    <a:gd name="connsiteX9" fmla="*/ 148080 w 494985"/>
                    <a:gd name="connsiteY9" fmla="*/ 1033370 h 1101096"/>
                    <a:gd name="connsiteX10" fmla="*/ 28501 w 494985"/>
                    <a:gd name="connsiteY10" fmla="*/ 1035486 h 1101096"/>
                    <a:gd name="connsiteX11" fmla="*/ 0 w 494985"/>
                    <a:gd name="connsiteY11" fmla="*/ 1006985 h 1101096"/>
                    <a:gd name="connsiteX12" fmla="*/ 0 w 494985"/>
                    <a:gd name="connsiteY12" fmla="*/ 28501 h 1101096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5462"/>
                    <a:gd name="connsiteX1" fmla="*/ 28501 w 494985"/>
                    <a:gd name="connsiteY1" fmla="*/ 0 h 1105462"/>
                    <a:gd name="connsiteX2" fmla="*/ 466484 w 494985"/>
                    <a:gd name="connsiteY2" fmla="*/ 0 h 1105462"/>
                    <a:gd name="connsiteX3" fmla="*/ 494985 w 494985"/>
                    <a:gd name="connsiteY3" fmla="*/ 28501 h 1105462"/>
                    <a:gd name="connsiteX4" fmla="*/ 494985 w 494985"/>
                    <a:gd name="connsiteY4" fmla="*/ 1006985 h 1105462"/>
                    <a:gd name="connsiteX5" fmla="*/ 466484 w 494985"/>
                    <a:gd name="connsiteY5" fmla="*/ 1035486 h 1105462"/>
                    <a:gd name="connsiteX6" fmla="*/ 369537 w 494985"/>
                    <a:gd name="connsiteY6" fmla="*/ 1030990 h 1105462"/>
                    <a:gd name="connsiteX7" fmla="*/ 305243 w 494985"/>
                    <a:gd name="connsiteY7" fmla="*/ 1098458 h 1105462"/>
                    <a:gd name="connsiteX8" fmla="*/ 198087 w 494985"/>
                    <a:gd name="connsiteY8" fmla="*/ 1100839 h 1105462"/>
                    <a:gd name="connsiteX9" fmla="*/ 148080 w 494985"/>
                    <a:gd name="connsiteY9" fmla="*/ 1033370 h 1105462"/>
                    <a:gd name="connsiteX10" fmla="*/ 28501 w 494985"/>
                    <a:gd name="connsiteY10" fmla="*/ 1035486 h 1105462"/>
                    <a:gd name="connsiteX11" fmla="*/ 0 w 494985"/>
                    <a:gd name="connsiteY11" fmla="*/ 1006985 h 1105462"/>
                    <a:gd name="connsiteX12" fmla="*/ 0 w 494985"/>
                    <a:gd name="connsiteY12" fmla="*/ 28501 h 110546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48080 w 494985"/>
                    <a:gd name="connsiteY9" fmla="*/ 1033370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69537 w 494985"/>
                    <a:gd name="connsiteY6" fmla="*/ 1030990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2002"/>
                    <a:gd name="connsiteX1" fmla="*/ 28501 w 494985"/>
                    <a:gd name="connsiteY1" fmla="*/ 0 h 1102002"/>
                    <a:gd name="connsiteX2" fmla="*/ 466484 w 494985"/>
                    <a:gd name="connsiteY2" fmla="*/ 0 h 1102002"/>
                    <a:gd name="connsiteX3" fmla="*/ 494985 w 494985"/>
                    <a:gd name="connsiteY3" fmla="*/ 28501 h 1102002"/>
                    <a:gd name="connsiteX4" fmla="*/ 494985 w 494985"/>
                    <a:gd name="connsiteY4" fmla="*/ 1006985 h 1102002"/>
                    <a:gd name="connsiteX5" fmla="*/ 466484 w 494985"/>
                    <a:gd name="connsiteY5" fmla="*/ 1035486 h 1102002"/>
                    <a:gd name="connsiteX6" fmla="*/ 371918 w 494985"/>
                    <a:gd name="connsiteY6" fmla="*/ 1041471 h 1102002"/>
                    <a:gd name="connsiteX7" fmla="*/ 305243 w 494985"/>
                    <a:gd name="connsiteY7" fmla="*/ 1098458 h 1102002"/>
                    <a:gd name="connsiteX8" fmla="*/ 198087 w 494985"/>
                    <a:gd name="connsiteY8" fmla="*/ 1100839 h 1102002"/>
                    <a:gd name="connsiteX9" fmla="*/ 150462 w 494985"/>
                    <a:gd name="connsiteY9" fmla="*/ 1038611 h 1102002"/>
                    <a:gd name="connsiteX10" fmla="*/ 28501 w 494985"/>
                    <a:gd name="connsiteY10" fmla="*/ 1035486 h 1102002"/>
                    <a:gd name="connsiteX11" fmla="*/ 0 w 494985"/>
                    <a:gd name="connsiteY11" fmla="*/ 1006985 h 1102002"/>
                    <a:gd name="connsiteX12" fmla="*/ 0 w 494985"/>
                    <a:gd name="connsiteY12" fmla="*/ 28501 h 1102002"/>
                    <a:gd name="connsiteX0" fmla="*/ 0 w 494985"/>
                    <a:gd name="connsiteY0" fmla="*/ 28501 h 1106321"/>
                    <a:gd name="connsiteX1" fmla="*/ 28501 w 494985"/>
                    <a:gd name="connsiteY1" fmla="*/ 0 h 1106321"/>
                    <a:gd name="connsiteX2" fmla="*/ 466484 w 494985"/>
                    <a:gd name="connsiteY2" fmla="*/ 0 h 1106321"/>
                    <a:gd name="connsiteX3" fmla="*/ 494985 w 494985"/>
                    <a:gd name="connsiteY3" fmla="*/ 28501 h 1106321"/>
                    <a:gd name="connsiteX4" fmla="*/ 494985 w 494985"/>
                    <a:gd name="connsiteY4" fmla="*/ 1006985 h 1106321"/>
                    <a:gd name="connsiteX5" fmla="*/ 466484 w 494985"/>
                    <a:gd name="connsiteY5" fmla="*/ 1035486 h 1106321"/>
                    <a:gd name="connsiteX6" fmla="*/ 371918 w 494985"/>
                    <a:gd name="connsiteY6" fmla="*/ 1041471 h 1106321"/>
                    <a:gd name="connsiteX7" fmla="*/ 305243 w 494985"/>
                    <a:gd name="connsiteY7" fmla="*/ 1106317 h 1106321"/>
                    <a:gd name="connsiteX8" fmla="*/ 198087 w 494985"/>
                    <a:gd name="connsiteY8" fmla="*/ 1100839 h 1106321"/>
                    <a:gd name="connsiteX9" fmla="*/ 150462 w 494985"/>
                    <a:gd name="connsiteY9" fmla="*/ 1038611 h 1106321"/>
                    <a:gd name="connsiteX10" fmla="*/ 28501 w 494985"/>
                    <a:gd name="connsiteY10" fmla="*/ 1035486 h 1106321"/>
                    <a:gd name="connsiteX11" fmla="*/ 0 w 494985"/>
                    <a:gd name="connsiteY11" fmla="*/ 1006985 h 1106321"/>
                    <a:gd name="connsiteX12" fmla="*/ 0 w 494985"/>
                    <a:gd name="connsiteY12" fmla="*/ 28501 h 1106321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0462 w 494985"/>
                    <a:gd name="connsiteY9" fmla="*/ 103861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79037 w 494985"/>
                    <a:gd name="connsiteY9" fmla="*/ 10359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83799 w 494985"/>
                    <a:gd name="connsiteY9" fmla="*/ 1046471 h 1102488"/>
                    <a:gd name="connsiteX10" fmla="*/ 153278 w 494985"/>
                    <a:gd name="connsiteY10" fmla="*/ 1037850 h 1102488"/>
                    <a:gd name="connsiteX11" fmla="*/ 28501 w 494985"/>
                    <a:gd name="connsiteY11" fmla="*/ 1035486 h 1102488"/>
                    <a:gd name="connsiteX12" fmla="*/ 0 w 494985"/>
                    <a:gd name="connsiteY12" fmla="*/ 1006985 h 1102488"/>
                    <a:gd name="connsiteX13" fmla="*/ 0 w 494985"/>
                    <a:gd name="connsiteY13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3278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29465 w 494985"/>
                    <a:gd name="connsiteY9" fmla="*/ 1043091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3654"/>
                    <a:gd name="connsiteX1" fmla="*/ 28501 w 494985"/>
                    <a:gd name="connsiteY1" fmla="*/ 0 h 1103654"/>
                    <a:gd name="connsiteX2" fmla="*/ 466484 w 494985"/>
                    <a:gd name="connsiteY2" fmla="*/ 0 h 1103654"/>
                    <a:gd name="connsiteX3" fmla="*/ 494985 w 494985"/>
                    <a:gd name="connsiteY3" fmla="*/ 28501 h 1103654"/>
                    <a:gd name="connsiteX4" fmla="*/ 494985 w 494985"/>
                    <a:gd name="connsiteY4" fmla="*/ 1006985 h 1103654"/>
                    <a:gd name="connsiteX5" fmla="*/ 466484 w 494985"/>
                    <a:gd name="connsiteY5" fmla="*/ 1035486 h 1103654"/>
                    <a:gd name="connsiteX6" fmla="*/ 371918 w 494985"/>
                    <a:gd name="connsiteY6" fmla="*/ 1041471 h 1103654"/>
                    <a:gd name="connsiteX7" fmla="*/ 307624 w 494985"/>
                    <a:gd name="connsiteY7" fmla="*/ 1101077 h 1103654"/>
                    <a:gd name="connsiteX8" fmla="*/ 198087 w 494985"/>
                    <a:gd name="connsiteY8" fmla="*/ 1100839 h 1103654"/>
                    <a:gd name="connsiteX9" fmla="*/ 136609 w 494985"/>
                    <a:gd name="connsiteY9" fmla="*/ 1037850 h 1103654"/>
                    <a:gd name="connsiteX10" fmla="*/ 28501 w 494985"/>
                    <a:gd name="connsiteY10" fmla="*/ 1035486 h 1103654"/>
                    <a:gd name="connsiteX11" fmla="*/ 0 w 494985"/>
                    <a:gd name="connsiteY11" fmla="*/ 1006985 h 1103654"/>
                    <a:gd name="connsiteX12" fmla="*/ 0 w 494985"/>
                    <a:gd name="connsiteY12" fmla="*/ 28501 h 1103654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36609 w 494985"/>
                    <a:gd name="connsiteY9" fmla="*/ 1037850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2488"/>
                    <a:gd name="connsiteX1" fmla="*/ 28501 w 494985"/>
                    <a:gd name="connsiteY1" fmla="*/ 0 h 1102488"/>
                    <a:gd name="connsiteX2" fmla="*/ 466484 w 494985"/>
                    <a:gd name="connsiteY2" fmla="*/ 0 h 1102488"/>
                    <a:gd name="connsiteX3" fmla="*/ 494985 w 494985"/>
                    <a:gd name="connsiteY3" fmla="*/ 28501 h 1102488"/>
                    <a:gd name="connsiteX4" fmla="*/ 494985 w 494985"/>
                    <a:gd name="connsiteY4" fmla="*/ 1006985 h 1102488"/>
                    <a:gd name="connsiteX5" fmla="*/ 466484 w 494985"/>
                    <a:gd name="connsiteY5" fmla="*/ 1035486 h 1102488"/>
                    <a:gd name="connsiteX6" fmla="*/ 371918 w 494985"/>
                    <a:gd name="connsiteY6" fmla="*/ 1041471 h 1102488"/>
                    <a:gd name="connsiteX7" fmla="*/ 307624 w 494985"/>
                    <a:gd name="connsiteY7" fmla="*/ 1101077 h 1102488"/>
                    <a:gd name="connsiteX8" fmla="*/ 198087 w 494985"/>
                    <a:gd name="connsiteY8" fmla="*/ 1100839 h 1102488"/>
                    <a:gd name="connsiteX9" fmla="*/ 158041 w 494985"/>
                    <a:gd name="connsiteY9" fmla="*/ 1035229 h 1102488"/>
                    <a:gd name="connsiteX10" fmla="*/ 28501 w 494985"/>
                    <a:gd name="connsiteY10" fmla="*/ 1035486 h 1102488"/>
                    <a:gd name="connsiteX11" fmla="*/ 0 w 494985"/>
                    <a:gd name="connsiteY11" fmla="*/ 1006985 h 1102488"/>
                    <a:gd name="connsiteX12" fmla="*/ 0 w 494985"/>
                    <a:gd name="connsiteY12" fmla="*/ 28501 h 1102488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1324"/>
                    <a:gd name="connsiteX1" fmla="*/ 28501 w 494985"/>
                    <a:gd name="connsiteY1" fmla="*/ 0 h 1101324"/>
                    <a:gd name="connsiteX2" fmla="*/ 466484 w 494985"/>
                    <a:gd name="connsiteY2" fmla="*/ 0 h 1101324"/>
                    <a:gd name="connsiteX3" fmla="*/ 494985 w 494985"/>
                    <a:gd name="connsiteY3" fmla="*/ 28501 h 1101324"/>
                    <a:gd name="connsiteX4" fmla="*/ 494985 w 494985"/>
                    <a:gd name="connsiteY4" fmla="*/ 1006985 h 1101324"/>
                    <a:gd name="connsiteX5" fmla="*/ 466484 w 494985"/>
                    <a:gd name="connsiteY5" fmla="*/ 1035486 h 1101324"/>
                    <a:gd name="connsiteX6" fmla="*/ 371918 w 494985"/>
                    <a:gd name="connsiteY6" fmla="*/ 1041471 h 1101324"/>
                    <a:gd name="connsiteX7" fmla="*/ 307624 w 494985"/>
                    <a:gd name="connsiteY7" fmla="*/ 1101077 h 1101324"/>
                    <a:gd name="connsiteX8" fmla="*/ 198087 w 494985"/>
                    <a:gd name="connsiteY8" fmla="*/ 1100839 h 1101324"/>
                    <a:gd name="connsiteX9" fmla="*/ 158041 w 494985"/>
                    <a:gd name="connsiteY9" fmla="*/ 1035229 h 1101324"/>
                    <a:gd name="connsiteX10" fmla="*/ 28501 w 494985"/>
                    <a:gd name="connsiteY10" fmla="*/ 1035486 h 1101324"/>
                    <a:gd name="connsiteX11" fmla="*/ 0 w 494985"/>
                    <a:gd name="connsiteY11" fmla="*/ 1006985 h 1101324"/>
                    <a:gd name="connsiteX12" fmla="*/ 0 w 494985"/>
                    <a:gd name="connsiteY12" fmla="*/ 28501 h 1101324"/>
                    <a:gd name="connsiteX0" fmla="*/ 0 w 494985"/>
                    <a:gd name="connsiteY0" fmla="*/ 28501 h 1106240"/>
                    <a:gd name="connsiteX1" fmla="*/ 28501 w 494985"/>
                    <a:gd name="connsiteY1" fmla="*/ 0 h 1106240"/>
                    <a:gd name="connsiteX2" fmla="*/ 466484 w 494985"/>
                    <a:gd name="connsiteY2" fmla="*/ 0 h 1106240"/>
                    <a:gd name="connsiteX3" fmla="*/ 494985 w 494985"/>
                    <a:gd name="connsiteY3" fmla="*/ 28501 h 1106240"/>
                    <a:gd name="connsiteX4" fmla="*/ 494985 w 494985"/>
                    <a:gd name="connsiteY4" fmla="*/ 1006985 h 1106240"/>
                    <a:gd name="connsiteX5" fmla="*/ 466484 w 494985"/>
                    <a:gd name="connsiteY5" fmla="*/ 1035486 h 1106240"/>
                    <a:gd name="connsiteX6" fmla="*/ 369537 w 494985"/>
                    <a:gd name="connsiteY6" fmla="*/ 1033611 h 1106240"/>
                    <a:gd name="connsiteX7" fmla="*/ 307624 w 494985"/>
                    <a:gd name="connsiteY7" fmla="*/ 1101077 h 1106240"/>
                    <a:gd name="connsiteX8" fmla="*/ 198087 w 494985"/>
                    <a:gd name="connsiteY8" fmla="*/ 1100839 h 1106240"/>
                    <a:gd name="connsiteX9" fmla="*/ 158041 w 494985"/>
                    <a:gd name="connsiteY9" fmla="*/ 1035229 h 1106240"/>
                    <a:gd name="connsiteX10" fmla="*/ 28501 w 494985"/>
                    <a:gd name="connsiteY10" fmla="*/ 1035486 h 1106240"/>
                    <a:gd name="connsiteX11" fmla="*/ 0 w 494985"/>
                    <a:gd name="connsiteY11" fmla="*/ 1006985 h 1106240"/>
                    <a:gd name="connsiteX12" fmla="*/ 0 w 494985"/>
                    <a:gd name="connsiteY12" fmla="*/ 28501 h 1106240"/>
                    <a:gd name="connsiteX0" fmla="*/ 0 w 494985"/>
                    <a:gd name="connsiteY0" fmla="*/ 28501 h 1105659"/>
                    <a:gd name="connsiteX1" fmla="*/ 28501 w 494985"/>
                    <a:gd name="connsiteY1" fmla="*/ 0 h 1105659"/>
                    <a:gd name="connsiteX2" fmla="*/ 466484 w 494985"/>
                    <a:gd name="connsiteY2" fmla="*/ 0 h 1105659"/>
                    <a:gd name="connsiteX3" fmla="*/ 494985 w 494985"/>
                    <a:gd name="connsiteY3" fmla="*/ 28501 h 1105659"/>
                    <a:gd name="connsiteX4" fmla="*/ 494985 w 494985"/>
                    <a:gd name="connsiteY4" fmla="*/ 1006985 h 1105659"/>
                    <a:gd name="connsiteX5" fmla="*/ 466484 w 494985"/>
                    <a:gd name="connsiteY5" fmla="*/ 1035486 h 1105659"/>
                    <a:gd name="connsiteX6" fmla="*/ 371918 w 494985"/>
                    <a:gd name="connsiteY6" fmla="*/ 1041470 h 1105659"/>
                    <a:gd name="connsiteX7" fmla="*/ 307624 w 494985"/>
                    <a:gd name="connsiteY7" fmla="*/ 1101077 h 1105659"/>
                    <a:gd name="connsiteX8" fmla="*/ 198087 w 494985"/>
                    <a:gd name="connsiteY8" fmla="*/ 1100839 h 1105659"/>
                    <a:gd name="connsiteX9" fmla="*/ 158041 w 494985"/>
                    <a:gd name="connsiteY9" fmla="*/ 1035229 h 1105659"/>
                    <a:gd name="connsiteX10" fmla="*/ 28501 w 494985"/>
                    <a:gd name="connsiteY10" fmla="*/ 1035486 h 1105659"/>
                    <a:gd name="connsiteX11" fmla="*/ 0 w 494985"/>
                    <a:gd name="connsiteY11" fmla="*/ 1006985 h 1105659"/>
                    <a:gd name="connsiteX12" fmla="*/ 0 w 494985"/>
                    <a:gd name="connsiteY12" fmla="*/ 28501 h 1105659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6046"/>
                    <a:gd name="connsiteX1" fmla="*/ 28501 w 494985"/>
                    <a:gd name="connsiteY1" fmla="*/ 0 h 1106046"/>
                    <a:gd name="connsiteX2" fmla="*/ 466484 w 494985"/>
                    <a:gd name="connsiteY2" fmla="*/ 0 h 1106046"/>
                    <a:gd name="connsiteX3" fmla="*/ 494985 w 494985"/>
                    <a:gd name="connsiteY3" fmla="*/ 28501 h 1106046"/>
                    <a:gd name="connsiteX4" fmla="*/ 494985 w 494985"/>
                    <a:gd name="connsiteY4" fmla="*/ 1006985 h 1106046"/>
                    <a:gd name="connsiteX5" fmla="*/ 466484 w 494985"/>
                    <a:gd name="connsiteY5" fmla="*/ 1035486 h 1106046"/>
                    <a:gd name="connsiteX6" fmla="*/ 364775 w 494985"/>
                    <a:gd name="connsiteY6" fmla="*/ 1036230 h 1106046"/>
                    <a:gd name="connsiteX7" fmla="*/ 307624 w 494985"/>
                    <a:gd name="connsiteY7" fmla="*/ 1101077 h 1106046"/>
                    <a:gd name="connsiteX8" fmla="*/ 198087 w 494985"/>
                    <a:gd name="connsiteY8" fmla="*/ 1100839 h 1106046"/>
                    <a:gd name="connsiteX9" fmla="*/ 158041 w 494985"/>
                    <a:gd name="connsiteY9" fmla="*/ 1035229 h 1106046"/>
                    <a:gd name="connsiteX10" fmla="*/ 28501 w 494985"/>
                    <a:gd name="connsiteY10" fmla="*/ 1035486 h 1106046"/>
                    <a:gd name="connsiteX11" fmla="*/ 0 w 494985"/>
                    <a:gd name="connsiteY11" fmla="*/ 1006985 h 1106046"/>
                    <a:gd name="connsiteX12" fmla="*/ 0 w 494985"/>
                    <a:gd name="connsiteY12" fmla="*/ 28501 h 1106046"/>
                    <a:gd name="connsiteX0" fmla="*/ 0 w 494985"/>
                    <a:gd name="connsiteY0" fmla="*/ 28501 h 1104264"/>
                    <a:gd name="connsiteX1" fmla="*/ 28501 w 494985"/>
                    <a:gd name="connsiteY1" fmla="*/ 0 h 1104264"/>
                    <a:gd name="connsiteX2" fmla="*/ 466484 w 494985"/>
                    <a:gd name="connsiteY2" fmla="*/ 0 h 1104264"/>
                    <a:gd name="connsiteX3" fmla="*/ 494985 w 494985"/>
                    <a:gd name="connsiteY3" fmla="*/ 28501 h 1104264"/>
                    <a:gd name="connsiteX4" fmla="*/ 494985 w 494985"/>
                    <a:gd name="connsiteY4" fmla="*/ 1006985 h 1104264"/>
                    <a:gd name="connsiteX5" fmla="*/ 466484 w 494985"/>
                    <a:gd name="connsiteY5" fmla="*/ 1035486 h 1104264"/>
                    <a:gd name="connsiteX6" fmla="*/ 364775 w 494985"/>
                    <a:gd name="connsiteY6" fmla="*/ 1036230 h 1104264"/>
                    <a:gd name="connsiteX7" fmla="*/ 312387 w 494985"/>
                    <a:gd name="connsiteY7" fmla="*/ 1098457 h 1104264"/>
                    <a:gd name="connsiteX8" fmla="*/ 198087 w 494985"/>
                    <a:gd name="connsiteY8" fmla="*/ 1100839 h 1104264"/>
                    <a:gd name="connsiteX9" fmla="*/ 158041 w 494985"/>
                    <a:gd name="connsiteY9" fmla="*/ 1035229 h 1104264"/>
                    <a:gd name="connsiteX10" fmla="*/ 28501 w 494985"/>
                    <a:gd name="connsiteY10" fmla="*/ 1035486 h 1104264"/>
                    <a:gd name="connsiteX11" fmla="*/ 0 w 494985"/>
                    <a:gd name="connsiteY11" fmla="*/ 1006985 h 1104264"/>
                    <a:gd name="connsiteX12" fmla="*/ 0 w 494985"/>
                    <a:gd name="connsiteY12" fmla="*/ 28501 h 1104264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312387 w 494985"/>
                    <a:gd name="connsiteY7" fmla="*/ 1098457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198087 w 494985"/>
                    <a:gd name="connsiteY7" fmla="*/ 1100839 h 1100839"/>
                    <a:gd name="connsiteX8" fmla="*/ 158041 w 494985"/>
                    <a:gd name="connsiteY8" fmla="*/ 1035229 h 1100839"/>
                    <a:gd name="connsiteX9" fmla="*/ 28501 w 494985"/>
                    <a:gd name="connsiteY9" fmla="*/ 1035486 h 1100839"/>
                    <a:gd name="connsiteX10" fmla="*/ 0 w 494985"/>
                    <a:gd name="connsiteY10" fmla="*/ 1006985 h 1100839"/>
                    <a:gd name="connsiteX11" fmla="*/ 0 w 494985"/>
                    <a:gd name="connsiteY11" fmla="*/ 28501 h 1100839"/>
                    <a:gd name="connsiteX0" fmla="*/ 0 w 494985"/>
                    <a:gd name="connsiteY0" fmla="*/ 28501 h 1100839"/>
                    <a:gd name="connsiteX1" fmla="*/ 28501 w 494985"/>
                    <a:gd name="connsiteY1" fmla="*/ 0 h 1100839"/>
                    <a:gd name="connsiteX2" fmla="*/ 466484 w 494985"/>
                    <a:gd name="connsiteY2" fmla="*/ 0 h 1100839"/>
                    <a:gd name="connsiteX3" fmla="*/ 494985 w 494985"/>
                    <a:gd name="connsiteY3" fmla="*/ 28501 h 1100839"/>
                    <a:gd name="connsiteX4" fmla="*/ 494985 w 494985"/>
                    <a:gd name="connsiteY4" fmla="*/ 1006985 h 1100839"/>
                    <a:gd name="connsiteX5" fmla="*/ 466484 w 494985"/>
                    <a:gd name="connsiteY5" fmla="*/ 1035486 h 1100839"/>
                    <a:gd name="connsiteX6" fmla="*/ 364775 w 494985"/>
                    <a:gd name="connsiteY6" fmla="*/ 1036230 h 1100839"/>
                    <a:gd name="connsiteX7" fmla="*/ 289009 w 494985"/>
                    <a:gd name="connsiteY7" fmla="*/ 1064051 h 1100839"/>
                    <a:gd name="connsiteX8" fmla="*/ 198087 w 494985"/>
                    <a:gd name="connsiteY8" fmla="*/ 1100839 h 1100839"/>
                    <a:gd name="connsiteX9" fmla="*/ 158041 w 494985"/>
                    <a:gd name="connsiteY9" fmla="*/ 1035229 h 1100839"/>
                    <a:gd name="connsiteX10" fmla="*/ 28501 w 494985"/>
                    <a:gd name="connsiteY10" fmla="*/ 1035486 h 1100839"/>
                    <a:gd name="connsiteX11" fmla="*/ 0 w 494985"/>
                    <a:gd name="connsiteY11" fmla="*/ 1006985 h 1100839"/>
                    <a:gd name="connsiteX12" fmla="*/ 0 w 494985"/>
                    <a:gd name="connsiteY12" fmla="*/ 28501 h 1100839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64775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52869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3352"/>
                    <a:gd name="connsiteX1" fmla="*/ 28501 w 494985"/>
                    <a:gd name="connsiteY1" fmla="*/ 0 h 1103352"/>
                    <a:gd name="connsiteX2" fmla="*/ 466484 w 494985"/>
                    <a:gd name="connsiteY2" fmla="*/ 0 h 1103352"/>
                    <a:gd name="connsiteX3" fmla="*/ 494985 w 494985"/>
                    <a:gd name="connsiteY3" fmla="*/ 28501 h 1103352"/>
                    <a:gd name="connsiteX4" fmla="*/ 494985 w 494985"/>
                    <a:gd name="connsiteY4" fmla="*/ 1006985 h 1103352"/>
                    <a:gd name="connsiteX5" fmla="*/ 466484 w 494985"/>
                    <a:gd name="connsiteY5" fmla="*/ 1035486 h 1103352"/>
                    <a:gd name="connsiteX6" fmla="*/ 340962 w 494985"/>
                    <a:gd name="connsiteY6" fmla="*/ 1036230 h 1103352"/>
                    <a:gd name="connsiteX7" fmla="*/ 291390 w 494985"/>
                    <a:gd name="connsiteY7" fmla="*/ 1103352 h 1103352"/>
                    <a:gd name="connsiteX8" fmla="*/ 198087 w 494985"/>
                    <a:gd name="connsiteY8" fmla="*/ 1100839 h 1103352"/>
                    <a:gd name="connsiteX9" fmla="*/ 158041 w 494985"/>
                    <a:gd name="connsiteY9" fmla="*/ 1035229 h 1103352"/>
                    <a:gd name="connsiteX10" fmla="*/ 28501 w 494985"/>
                    <a:gd name="connsiteY10" fmla="*/ 1035486 h 1103352"/>
                    <a:gd name="connsiteX11" fmla="*/ 0 w 494985"/>
                    <a:gd name="connsiteY11" fmla="*/ 1006985 h 1103352"/>
                    <a:gd name="connsiteX12" fmla="*/ 0 w 494985"/>
                    <a:gd name="connsiteY12" fmla="*/ 28501 h 110335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1390 w 494985"/>
                    <a:gd name="connsiteY7" fmla="*/ 1103352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13832"/>
                    <a:gd name="connsiteX1" fmla="*/ 28501 w 494985"/>
                    <a:gd name="connsiteY1" fmla="*/ 0 h 1113832"/>
                    <a:gd name="connsiteX2" fmla="*/ 466484 w 494985"/>
                    <a:gd name="connsiteY2" fmla="*/ 0 h 1113832"/>
                    <a:gd name="connsiteX3" fmla="*/ 494985 w 494985"/>
                    <a:gd name="connsiteY3" fmla="*/ 28501 h 1113832"/>
                    <a:gd name="connsiteX4" fmla="*/ 494985 w 494985"/>
                    <a:gd name="connsiteY4" fmla="*/ 1006985 h 1113832"/>
                    <a:gd name="connsiteX5" fmla="*/ 466484 w 494985"/>
                    <a:gd name="connsiteY5" fmla="*/ 1035486 h 1113832"/>
                    <a:gd name="connsiteX6" fmla="*/ 340962 w 494985"/>
                    <a:gd name="connsiteY6" fmla="*/ 1036230 h 1113832"/>
                    <a:gd name="connsiteX7" fmla="*/ 293772 w 494985"/>
                    <a:gd name="connsiteY7" fmla="*/ 1113832 h 1113832"/>
                    <a:gd name="connsiteX8" fmla="*/ 200469 w 494985"/>
                    <a:gd name="connsiteY8" fmla="*/ 1108699 h 1113832"/>
                    <a:gd name="connsiteX9" fmla="*/ 158041 w 494985"/>
                    <a:gd name="connsiteY9" fmla="*/ 1035229 h 1113832"/>
                    <a:gd name="connsiteX10" fmla="*/ 28501 w 494985"/>
                    <a:gd name="connsiteY10" fmla="*/ 1035486 h 1113832"/>
                    <a:gd name="connsiteX11" fmla="*/ 0 w 494985"/>
                    <a:gd name="connsiteY11" fmla="*/ 1006985 h 1113832"/>
                    <a:gd name="connsiteX12" fmla="*/ 0 w 494985"/>
                    <a:gd name="connsiteY12" fmla="*/ 28501 h 1113832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200469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298535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  <a:gd name="connsiteX0" fmla="*/ 0 w 494985"/>
                    <a:gd name="connsiteY0" fmla="*/ 28501 h 1108699"/>
                    <a:gd name="connsiteX1" fmla="*/ 28501 w 494985"/>
                    <a:gd name="connsiteY1" fmla="*/ 0 h 1108699"/>
                    <a:gd name="connsiteX2" fmla="*/ 466484 w 494985"/>
                    <a:gd name="connsiteY2" fmla="*/ 0 h 1108699"/>
                    <a:gd name="connsiteX3" fmla="*/ 494985 w 494985"/>
                    <a:gd name="connsiteY3" fmla="*/ 28501 h 1108699"/>
                    <a:gd name="connsiteX4" fmla="*/ 494985 w 494985"/>
                    <a:gd name="connsiteY4" fmla="*/ 1006985 h 1108699"/>
                    <a:gd name="connsiteX5" fmla="*/ 466484 w 494985"/>
                    <a:gd name="connsiteY5" fmla="*/ 1035486 h 1108699"/>
                    <a:gd name="connsiteX6" fmla="*/ 340962 w 494985"/>
                    <a:gd name="connsiteY6" fmla="*/ 1036230 h 1108699"/>
                    <a:gd name="connsiteX7" fmla="*/ 305679 w 494985"/>
                    <a:gd name="connsiteY7" fmla="*/ 1108591 h 1108699"/>
                    <a:gd name="connsiteX8" fmla="*/ 186182 w 494985"/>
                    <a:gd name="connsiteY8" fmla="*/ 1108699 h 1108699"/>
                    <a:gd name="connsiteX9" fmla="*/ 158041 w 494985"/>
                    <a:gd name="connsiteY9" fmla="*/ 1035229 h 1108699"/>
                    <a:gd name="connsiteX10" fmla="*/ 28501 w 494985"/>
                    <a:gd name="connsiteY10" fmla="*/ 1035486 h 1108699"/>
                    <a:gd name="connsiteX11" fmla="*/ 0 w 494985"/>
                    <a:gd name="connsiteY11" fmla="*/ 1006985 h 1108699"/>
                    <a:gd name="connsiteX12" fmla="*/ 0 w 494985"/>
                    <a:gd name="connsiteY12" fmla="*/ 28501 h 1108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94985" h="1108699">
                      <a:moveTo>
                        <a:pt x="0" y="28501"/>
                      </a:moveTo>
                      <a:cubicBezTo>
                        <a:pt x="0" y="12760"/>
                        <a:pt x="12760" y="0"/>
                        <a:pt x="28501" y="0"/>
                      </a:cubicBezTo>
                      <a:lnTo>
                        <a:pt x="466484" y="0"/>
                      </a:lnTo>
                      <a:cubicBezTo>
                        <a:pt x="482225" y="0"/>
                        <a:pt x="494985" y="12760"/>
                        <a:pt x="494985" y="28501"/>
                      </a:cubicBezTo>
                      <a:lnTo>
                        <a:pt x="494985" y="1006985"/>
                      </a:lnTo>
                      <a:cubicBezTo>
                        <a:pt x="494985" y="1022726"/>
                        <a:pt x="482225" y="1035486"/>
                        <a:pt x="466484" y="1035486"/>
                      </a:cubicBezTo>
                      <a:lnTo>
                        <a:pt x="340962" y="1036230"/>
                      </a:lnTo>
                      <a:lnTo>
                        <a:pt x="305679" y="1108591"/>
                      </a:lnTo>
                      <a:lnTo>
                        <a:pt x="186182" y="1108699"/>
                      </a:lnTo>
                      <a:lnTo>
                        <a:pt x="158041" y="1035229"/>
                      </a:lnTo>
                      <a:lnTo>
                        <a:pt x="28501" y="1035486"/>
                      </a:lnTo>
                      <a:cubicBezTo>
                        <a:pt x="12760" y="1035486"/>
                        <a:pt x="0" y="1022726"/>
                        <a:pt x="0" y="1006985"/>
                      </a:cubicBezTo>
                      <a:lnTo>
                        <a:pt x="0" y="28501"/>
                      </a:lnTo>
                      <a:close/>
                    </a:path>
                  </a:pathLst>
                </a:custGeom>
                <a:solidFill>
                  <a:srgbClr val="00827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7928" rIns="0" rtlCol="0" anchor="t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+mn-ea"/>
                      <a:cs typeface="Segoe UI Semibold" panose="020B0702040204020203" pitchFamily="34" charset="0"/>
                    </a:rPr>
                    <a:t>In-Memory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2917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(Spark)</a:t>
                  </a: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  <a:p>
                  <a:pPr marL="0" marR="0" lvl="0" indent="0" algn="l" defTabSz="457200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29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endParaRPr>
                </a:p>
              </p:txBody>
            </p:sp>
          </p:grpSp>
          <p:pic>
            <p:nvPicPr>
              <p:cNvPr id="24" name="Picture 165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6200000">
                <a:off x="1219460" y="4842062"/>
                <a:ext cx="2450329" cy="634723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4031362" y="3219060"/>
                <a:ext cx="4723335" cy="572461"/>
              </a:xfrm>
              <a:prstGeom prst="rect">
                <a:avLst/>
              </a:prstGeom>
              <a:noFill/>
            </p:spPr>
            <p:txBody>
              <a:bodyPr wrap="none" lIns="179285" tIns="143428" rIns="179285" bIns="143428" rtlCol="0">
                <a:spAutoFit/>
              </a:bodyPr>
              <a:lstStyle/>
              <a:p>
                <a:pPr marL="0" marR="0" lvl="0" indent="0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61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MS PGothic" charset="0"/>
                    <a:cs typeface="Segoe UI Semibold" panose="020B0702040204020203" pitchFamily="34" charset="0"/>
                  </a:rPr>
                  <a:t>Applications Run Natively IN Hadoop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1581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adoop 1.x vs. Hadoop 2.0</a:t>
            </a:r>
            <a:endParaRPr lang="ko-KR" altLang="en-US" dirty="0"/>
          </a:p>
        </p:txBody>
      </p:sp>
      <p:sp>
        <p:nvSpPr>
          <p:cNvPr id="11" name="Rounded Rectangle 4"/>
          <p:cNvSpPr/>
          <p:nvPr/>
        </p:nvSpPr>
        <p:spPr bwMode="auto">
          <a:xfrm>
            <a:off x="474133" y="2878666"/>
            <a:ext cx="5469467" cy="3285067"/>
          </a:xfrm>
          <a:prstGeom prst="round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Hadoop 1.x</a:t>
            </a:r>
          </a:p>
        </p:txBody>
      </p:sp>
      <p:sp>
        <p:nvSpPr>
          <p:cNvPr id="12" name="Rounded Rectangle 5"/>
          <p:cNvSpPr/>
          <p:nvPr/>
        </p:nvSpPr>
        <p:spPr bwMode="auto">
          <a:xfrm>
            <a:off x="6096779" y="2878665"/>
            <a:ext cx="5469467" cy="3285067"/>
          </a:xfrm>
          <a:prstGeom prst="roundRect">
            <a:avLst/>
          </a:prstGeom>
          <a:solidFill>
            <a:srgbClr val="002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Hadoop 2.0</a:t>
            </a:r>
          </a:p>
        </p:txBody>
      </p:sp>
      <p:sp>
        <p:nvSpPr>
          <p:cNvPr id="13" name="Text Placeholder 2"/>
          <p:cNvSpPr txBox="1">
            <a:spLocks/>
          </p:cNvSpPr>
          <p:nvPr/>
        </p:nvSpPr>
        <p:spPr bwMode="auto">
          <a:xfrm>
            <a:off x="1009275" y="3596146"/>
            <a:ext cx="4493225" cy="1434961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>
            <a:lvl1pPr marL="336145" indent="-336145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3921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72691" indent="-236546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353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784338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1961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08435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32531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0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Arial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MapReduce</a:t>
            </a:r>
          </a:p>
          <a:p>
            <a:pPr marL="336145" marR="0" lvl="0" indent="-336145" algn="l" defTabSz="91350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Arial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Cluster Resource Allocation</a:t>
            </a:r>
          </a:p>
          <a:p>
            <a:pPr marL="336145" marR="0" lvl="0" indent="-336145" algn="l" defTabSz="91350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Arial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Data Processing </a:t>
            </a:r>
          </a:p>
          <a:p>
            <a:pPr marL="0" marR="0" lvl="0" indent="0" algn="l" defTabSz="91350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Arial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 Light"/>
              <a:ea typeface="ＭＳ Ｐゴシック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 bwMode="auto">
          <a:xfrm>
            <a:off x="1712032" y="5213153"/>
            <a:ext cx="2565198" cy="59851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>
            <a:lvl1pPr marL="336145" indent="-336145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3921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72691" indent="-236546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353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784338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1961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08435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32531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50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Arial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HDF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 Light"/>
              <a:ea typeface="ＭＳ Ｐゴシック" charset="0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 bwMode="auto">
          <a:xfrm>
            <a:off x="7548913" y="5213153"/>
            <a:ext cx="2565198" cy="59851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>
            <a:lvl1pPr marL="336145" indent="-336145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3921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72691" indent="-236546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353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784338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1961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08435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32531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50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Arial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HDF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 Light"/>
              <a:ea typeface="ＭＳ Ｐゴシック" charset="0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 bwMode="auto">
          <a:xfrm>
            <a:off x="6352674" y="3523664"/>
            <a:ext cx="4619293" cy="59851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>
            <a:lvl1pPr marL="336145" indent="-336145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3921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72691" indent="-236546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353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784338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1961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08435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32531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0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Arial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MapReduc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 – Data Processing</a:t>
            </a:r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6352675" y="4221015"/>
            <a:ext cx="4619292" cy="598518"/>
          </a:xfrm>
          <a:prstGeom prst="rect">
            <a:avLst/>
          </a:prstGeom>
          <a:solidFill>
            <a:srgbClr val="0072C6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</a:bodyPr>
          <a:lstStyle>
            <a:lvl1pPr marL="336145" indent="-336145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3921" kern="1200">
                <a:solidFill>
                  <a:schemeClr val="tx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572691" indent="-236546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2353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784338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sz="1961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008435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232531" indent="-224097" algn="l" defTabSz="913505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SzPct val="90000"/>
              <a:buFont typeface="Arial" charset="0"/>
              <a:buChar char="•"/>
              <a:defRPr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05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 typeface="Arial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YAR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 –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Cluster Resourc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 Light"/>
                <a:ea typeface="ＭＳ Ｐゴシック" charset="0"/>
              </a:rPr>
              <a:t>Manage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Segoe UI Light"/>
              <a:ea typeface="ＭＳ Ｐゴシック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64205" y="1330541"/>
            <a:ext cx="328327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/>
            <a:r>
              <a:rPr lang="en-US" altLang="ko-KR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Single Use System</a:t>
            </a:r>
          </a:p>
          <a:p>
            <a:pPr latinLnBrk="0"/>
            <a:r>
              <a:rPr lang="ko-KR" alt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일괄처리</a:t>
            </a:r>
            <a:r>
              <a:rPr lang="en-US" altLang="ko-KR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3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앱</a:t>
            </a:r>
            <a:endParaRPr lang="ko-KR" altLang="en-US" sz="3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096779" y="1284747"/>
            <a:ext cx="411561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atinLnBrk="0"/>
            <a:r>
              <a:rPr lang="en-US" altLang="ko-KR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Multi Purpose Platform</a:t>
            </a:r>
          </a:p>
          <a:p>
            <a:pPr latinLnBrk="0"/>
            <a:r>
              <a:rPr lang="ko-KR" alt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일괄처리</a:t>
            </a:r>
            <a:r>
              <a:rPr lang="en-US" altLang="ko-KR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ko-KR" alt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상호작용</a:t>
            </a:r>
            <a:r>
              <a:rPr lang="en-US" altLang="ko-KR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br>
              <a:rPr lang="en-US" altLang="ko-KR" sz="32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ko-KR" alt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온라인</a:t>
            </a:r>
            <a:r>
              <a:rPr lang="en-US" altLang="ko-KR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ko-KR" altLang="en-US" sz="3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스트리밍</a:t>
            </a:r>
            <a:endParaRPr lang="ko-KR" altLang="en-US" sz="3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5308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YARN</a:t>
            </a:r>
            <a:r>
              <a:rPr lang="ko-KR" altLang="en-US" dirty="0"/>
              <a:t>이 만들어진 동기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altLang="ko-KR" dirty="0"/>
              <a:t>Map/Reduce</a:t>
            </a:r>
            <a:r>
              <a:rPr lang="ko-KR" altLang="en-US" dirty="0"/>
              <a:t>가 사용할 수 있는 유일한 계층인가</a:t>
            </a:r>
            <a:r>
              <a:rPr lang="en-US" altLang="ko-KR" dirty="0"/>
              <a:t>?</a:t>
            </a:r>
          </a:p>
          <a:p>
            <a:r>
              <a:rPr lang="ko-KR" altLang="en-US" dirty="0"/>
              <a:t>실시간 분석을 원한다면</a:t>
            </a:r>
            <a:r>
              <a:rPr lang="en-US" altLang="ko-KR" dirty="0"/>
              <a:t>?</a:t>
            </a:r>
          </a:p>
          <a:p>
            <a:r>
              <a:rPr lang="ko-KR" altLang="en-US" dirty="0"/>
              <a:t>각 작업으로 메시지를 전달할 수 있는지</a:t>
            </a:r>
            <a:r>
              <a:rPr lang="en-US" altLang="ko-KR" dirty="0"/>
              <a:t>?</a:t>
            </a:r>
          </a:p>
          <a:p>
            <a:r>
              <a:rPr lang="ko-KR" altLang="en-US" dirty="0"/>
              <a:t>유휴 자원을 활용할 수 있는지</a:t>
            </a:r>
            <a:r>
              <a:rPr lang="en-US" altLang="ko-KR" dirty="0"/>
              <a:t>?</a:t>
            </a:r>
            <a:endParaRPr lang="ko-KR" altLang="en-US" dirty="0"/>
          </a:p>
        </p:txBody>
      </p:sp>
      <p:pic>
        <p:nvPicPr>
          <p:cNvPr id="4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257" y="3387179"/>
            <a:ext cx="5485946" cy="3395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9209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YARN - </a:t>
            </a:r>
            <a:r>
              <a:rPr lang="ko-KR" altLang="en-US" dirty="0" err="1"/>
              <a:t>컨셉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altLang="ko-KR" sz="3200" dirty="0"/>
              <a:t>Resource Manager</a:t>
            </a:r>
            <a:r>
              <a:rPr lang="ko-KR" altLang="en-US" sz="3200" dirty="0"/>
              <a:t> </a:t>
            </a:r>
            <a:r>
              <a:rPr lang="en-US" altLang="ko-KR" sz="3200" dirty="0"/>
              <a:t>– </a:t>
            </a:r>
            <a:r>
              <a:rPr lang="ko-KR" altLang="en-US" sz="3200" dirty="0"/>
              <a:t>전역 리소스 스케줄러</a:t>
            </a:r>
            <a:endParaRPr lang="en-US" altLang="ko-KR" sz="3200" dirty="0"/>
          </a:p>
          <a:p>
            <a:pPr lvl="1"/>
            <a:r>
              <a:rPr lang="ko-KR" altLang="en-US" sz="2000" dirty="0"/>
              <a:t>시스템 내의 경쟁중인 응용 프로그램들에서 리소스를 중재하는데 한정됨</a:t>
            </a:r>
            <a:endParaRPr lang="en-US" altLang="ko-KR" sz="2000" dirty="0"/>
          </a:p>
          <a:p>
            <a:r>
              <a:rPr lang="en-US" altLang="ko-KR" sz="3200" dirty="0"/>
              <a:t>Node Manager</a:t>
            </a:r>
            <a:r>
              <a:rPr lang="ko-KR" altLang="en-US" sz="3200" dirty="0"/>
              <a:t> </a:t>
            </a:r>
            <a:r>
              <a:rPr lang="en-US" altLang="ko-KR" sz="3200" dirty="0"/>
              <a:t>– </a:t>
            </a:r>
            <a:r>
              <a:rPr lang="ko-KR" altLang="en-US" sz="3200" dirty="0" err="1"/>
              <a:t>노드당</a:t>
            </a:r>
            <a:r>
              <a:rPr lang="ko-KR" altLang="en-US" sz="3200" dirty="0"/>
              <a:t> 하나</a:t>
            </a:r>
            <a:endParaRPr lang="en-US" altLang="ko-KR" sz="3200" dirty="0"/>
          </a:p>
          <a:p>
            <a:pPr lvl="1"/>
            <a:r>
              <a:rPr lang="ko-KR" altLang="en-US" sz="2000" dirty="0"/>
              <a:t>응용 프로그램의 컨테이너를 실행하고 관리하는 책임</a:t>
            </a:r>
            <a:endParaRPr lang="en-US" altLang="ko-KR" sz="2000" dirty="0"/>
          </a:p>
          <a:p>
            <a:pPr lvl="1"/>
            <a:r>
              <a:rPr lang="ko-KR" altLang="en-US" sz="2000" dirty="0"/>
              <a:t>리소스 사용</a:t>
            </a:r>
            <a:r>
              <a:rPr lang="en-US" altLang="ko-KR" sz="2000" dirty="0"/>
              <a:t>(CPU, </a:t>
            </a:r>
            <a:r>
              <a:rPr lang="ko-KR" altLang="en-US" sz="2000" dirty="0"/>
              <a:t>메모리</a:t>
            </a:r>
            <a:r>
              <a:rPr lang="en-US" altLang="ko-KR" sz="2000" dirty="0"/>
              <a:t>, </a:t>
            </a:r>
            <a:r>
              <a:rPr lang="ko-KR" altLang="en-US" sz="2000" dirty="0"/>
              <a:t>디스크</a:t>
            </a:r>
            <a:r>
              <a:rPr lang="en-US" altLang="ko-KR" sz="2000" dirty="0"/>
              <a:t>, </a:t>
            </a:r>
            <a:r>
              <a:rPr lang="ko-KR" altLang="en-US" sz="2000" dirty="0"/>
              <a:t>네트워크</a:t>
            </a:r>
            <a:r>
              <a:rPr lang="en-US" altLang="ko-KR" sz="2000" dirty="0"/>
              <a:t>)</a:t>
            </a:r>
            <a:r>
              <a:rPr lang="ko-KR" altLang="en-US" sz="2000" dirty="0"/>
              <a:t>을</a:t>
            </a:r>
            <a:r>
              <a:rPr lang="en-US" altLang="ko-KR" sz="2000" dirty="0"/>
              <a:t> </a:t>
            </a:r>
            <a:r>
              <a:rPr lang="ko-KR" altLang="en-US" sz="2000" dirty="0"/>
              <a:t>모니터링</a:t>
            </a:r>
            <a:endParaRPr lang="en-US" altLang="ko-KR" sz="2000" dirty="0"/>
          </a:p>
          <a:p>
            <a:pPr lvl="1"/>
            <a:r>
              <a:rPr lang="ko-KR" altLang="en-US" sz="2000" dirty="0"/>
              <a:t>사용량 관련 정보를 </a:t>
            </a:r>
            <a:r>
              <a:rPr lang="en-US" altLang="ko-KR" sz="2000" dirty="0"/>
              <a:t>Resource Manager</a:t>
            </a:r>
            <a:r>
              <a:rPr lang="ko-KR" altLang="en-US" sz="2000" dirty="0"/>
              <a:t>에게 알림</a:t>
            </a:r>
            <a:endParaRPr lang="en-US" altLang="ko-KR" sz="2000" dirty="0"/>
          </a:p>
          <a:p>
            <a:r>
              <a:rPr lang="en-US" altLang="ko-KR" sz="3200" dirty="0"/>
              <a:t> Application Master – </a:t>
            </a:r>
            <a:r>
              <a:rPr lang="ko-KR" altLang="en-US" sz="3200" dirty="0"/>
              <a:t>응용 프로그램당 하나</a:t>
            </a:r>
            <a:endParaRPr lang="en-US" altLang="ko-KR" sz="3200" dirty="0"/>
          </a:p>
          <a:p>
            <a:pPr lvl="1"/>
            <a:r>
              <a:rPr lang="en-US" altLang="ko-KR" sz="2000" dirty="0"/>
              <a:t>Resource Manager</a:t>
            </a:r>
            <a:r>
              <a:rPr lang="ko-KR" altLang="en-US" sz="2000" dirty="0"/>
              <a:t>로 부터 자원을 협상하는 작업</a:t>
            </a:r>
            <a:endParaRPr lang="en-US" altLang="ko-KR" sz="2000" dirty="0"/>
          </a:p>
          <a:p>
            <a:pPr lvl="1"/>
            <a:r>
              <a:rPr lang="en-US" altLang="ko-KR" sz="2000" dirty="0"/>
              <a:t>Node Manager</a:t>
            </a:r>
            <a:r>
              <a:rPr lang="ko-KR" altLang="en-US" sz="2000" dirty="0"/>
              <a:t>와 함께 동작</a:t>
            </a:r>
            <a:endParaRPr lang="en-US" altLang="ko-KR" sz="2000" dirty="0"/>
          </a:p>
          <a:p>
            <a:pPr lvl="1"/>
            <a:r>
              <a:rPr lang="en-US" altLang="ko-KR" sz="2000" dirty="0"/>
              <a:t>Container</a:t>
            </a:r>
            <a:r>
              <a:rPr lang="ko-KR" altLang="en-US" sz="2000" dirty="0"/>
              <a:t>의 자원 소모와 상태를 모니터링</a:t>
            </a:r>
            <a:endParaRPr lang="en-US" altLang="ko-KR" sz="2000" dirty="0"/>
          </a:p>
          <a:p>
            <a:r>
              <a:rPr lang="en-US" altLang="ko-KR" sz="3200" dirty="0"/>
              <a:t>Container – </a:t>
            </a:r>
            <a:r>
              <a:rPr lang="ko-KR" altLang="en-US" sz="3200" dirty="0"/>
              <a:t>추상화 개념</a:t>
            </a:r>
            <a:endParaRPr lang="en-US" altLang="ko-KR" sz="3200" dirty="0"/>
          </a:p>
          <a:p>
            <a:pPr lvl="1"/>
            <a:r>
              <a:rPr lang="en-US" altLang="ko-KR" sz="2000" dirty="0"/>
              <a:t>Container</a:t>
            </a:r>
            <a:r>
              <a:rPr lang="ko-KR" altLang="en-US" sz="2000" dirty="0"/>
              <a:t>는 </a:t>
            </a:r>
            <a:r>
              <a:rPr lang="ko-KR" altLang="en-US" sz="2000" b="1" dirty="0"/>
              <a:t>할당된 자원</a:t>
            </a:r>
            <a:r>
              <a:rPr lang="ko-KR" altLang="en-US" sz="2000" dirty="0"/>
              <a:t>을 의미</a:t>
            </a:r>
            <a:r>
              <a:rPr lang="en-US" altLang="ko-KR" sz="2000" dirty="0"/>
              <a:t>(</a:t>
            </a:r>
            <a:r>
              <a:rPr lang="ko-KR" altLang="en-US" sz="2000" dirty="0"/>
              <a:t>메모리</a:t>
            </a:r>
            <a:r>
              <a:rPr lang="en-US" altLang="ko-KR" sz="2000" dirty="0"/>
              <a:t>, CPU, </a:t>
            </a:r>
            <a:r>
              <a:rPr lang="ko-KR" altLang="en-US" sz="2000" dirty="0"/>
              <a:t>디스크</a:t>
            </a:r>
            <a:r>
              <a:rPr lang="en-US" altLang="ko-KR" sz="2000" dirty="0"/>
              <a:t>, </a:t>
            </a:r>
            <a:r>
              <a:rPr lang="ko-KR" altLang="en-US" sz="2000" dirty="0"/>
              <a:t>네트워크 등</a:t>
            </a:r>
            <a:r>
              <a:rPr lang="en-US" altLang="ko-KR" sz="2000" dirty="0"/>
              <a:t>)</a:t>
            </a:r>
          </a:p>
          <a:p>
            <a:pPr lvl="1"/>
            <a:r>
              <a:rPr lang="en-US" altLang="ko-KR" sz="2000" dirty="0"/>
              <a:t>Resource Manager</a:t>
            </a:r>
            <a:r>
              <a:rPr lang="ko-KR" altLang="en-US" sz="2000" dirty="0"/>
              <a:t>가 승인한 특정 자원 요청의 성공적인 결과</a:t>
            </a:r>
          </a:p>
        </p:txBody>
      </p:sp>
    </p:spTree>
    <p:extLst>
      <p:ext uri="{BB962C8B-B14F-4D97-AF65-F5344CB8AC3E}">
        <p14:creationId xmlns:p14="http://schemas.microsoft.com/office/powerpoint/2010/main" val="20712928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유연한 데이터 </a:t>
            </a:r>
            <a:r>
              <a:rPr lang="ko-KR" altLang="en-US" dirty="0" err="1"/>
              <a:t>프로세싱</a:t>
            </a:r>
            <a:r>
              <a:rPr lang="ko-KR" altLang="en-US" dirty="0"/>
              <a:t> 옵션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altLang="ko-KR" dirty="0"/>
              <a:t>Java MapReduce</a:t>
            </a:r>
          </a:p>
          <a:p>
            <a:r>
              <a:rPr lang="en-US" altLang="ko-KR" dirty="0"/>
              <a:t>Streaming MapReduce</a:t>
            </a:r>
          </a:p>
          <a:p>
            <a:r>
              <a:rPr lang="en-US" altLang="ko-KR" dirty="0"/>
              <a:t>Pig Latin</a:t>
            </a:r>
          </a:p>
          <a:p>
            <a:r>
              <a:rPr lang="en-US" altLang="ko-KR" dirty="0"/>
              <a:t>Hive</a:t>
            </a:r>
          </a:p>
          <a:p>
            <a:r>
              <a:rPr lang="en-US" altLang="ko-KR" dirty="0" err="1"/>
              <a:t>Oozie</a:t>
            </a:r>
            <a:endParaRPr lang="en-US" altLang="ko-KR" dirty="0"/>
          </a:p>
          <a:p>
            <a:r>
              <a:rPr lang="en-US" altLang="ko-KR" dirty="0" err="1"/>
              <a:t>Sqoop</a:t>
            </a:r>
            <a:endParaRPr lang="en-US" altLang="ko-KR" dirty="0"/>
          </a:p>
          <a:p>
            <a:r>
              <a:rPr lang="en-US" altLang="ko-KR" dirty="0">
                <a:hlinkClick r:id="rId2"/>
              </a:rPr>
              <a:t>http://hadoopecosystemable.github.io/</a:t>
            </a:r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210239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많은</a:t>
            </a:r>
            <a:r>
              <a:rPr lang="en-US" altLang="ko-KR" dirty="0"/>
              <a:t> </a:t>
            </a:r>
            <a:r>
              <a:rPr lang="ko-KR" altLang="en-US" dirty="0" err="1"/>
              <a:t>기여자들과</a:t>
            </a:r>
            <a:r>
              <a:rPr lang="ko-KR" altLang="en-US" dirty="0"/>
              <a:t> 함께 발전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altLang="ko-KR" dirty="0"/>
              <a:t>Hadoop core project</a:t>
            </a:r>
            <a:r>
              <a:rPr lang="ko-KR" altLang="en-US" dirty="0"/>
              <a:t>를 위한 </a:t>
            </a:r>
            <a:r>
              <a:rPr lang="en-US" altLang="ko-KR" dirty="0"/>
              <a:t>80</a:t>
            </a:r>
            <a:r>
              <a:rPr lang="ko-KR" altLang="en-US" dirty="0"/>
              <a:t>여 </a:t>
            </a:r>
            <a:r>
              <a:rPr lang="en-US" altLang="ko-KR" dirty="0"/>
              <a:t>committer</a:t>
            </a:r>
            <a:endParaRPr lang="ko-KR" altLang="en-US" dirty="0"/>
          </a:p>
        </p:txBody>
      </p:sp>
      <p:grpSp>
        <p:nvGrpSpPr>
          <p:cNvPr id="28" name="Group 15"/>
          <p:cNvGrpSpPr/>
          <p:nvPr/>
        </p:nvGrpSpPr>
        <p:grpSpPr>
          <a:xfrm>
            <a:off x="471803" y="2082807"/>
            <a:ext cx="11217106" cy="4371627"/>
            <a:chOff x="481263" y="2124075"/>
            <a:chExt cx="11442032" cy="4459287"/>
          </a:xfrm>
        </p:grpSpPr>
        <p:grpSp>
          <p:nvGrpSpPr>
            <p:cNvPr id="29" name="Group 3"/>
            <p:cNvGrpSpPr/>
            <p:nvPr/>
          </p:nvGrpSpPr>
          <p:grpSpPr>
            <a:xfrm>
              <a:off x="481263" y="2124075"/>
              <a:ext cx="11442032" cy="4459287"/>
              <a:chOff x="481263" y="2124075"/>
              <a:chExt cx="11442032" cy="4459287"/>
            </a:xfrm>
          </p:grpSpPr>
          <p:sp>
            <p:nvSpPr>
              <p:cNvPr id="50" name="Rectangle 35"/>
              <p:cNvSpPr/>
              <p:nvPr/>
            </p:nvSpPr>
            <p:spPr bwMode="auto">
              <a:xfrm>
                <a:off x="481263" y="2124075"/>
                <a:ext cx="11442032" cy="4459287"/>
              </a:xfrm>
              <a:prstGeom prst="rect">
                <a:avLst/>
              </a:prstGeom>
              <a:solidFill>
                <a:srgbClr val="0072C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51" name="Picture 33"/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93072" y="2222838"/>
                <a:ext cx="2450329" cy="634724"/>
              </a:xfrm>
              <a:prstGeom prst="rect">
                <a:avLst/>
              </a:prstGeom>
            </p:spPr>
          </p:pic>
        </p:grpSp>
        <p:grpSp>
          <p:nvGrpSpPr>
            <p:cNvPr id="30" name="Group 14"/>
            <p:cNvGrpSpPr/>
            <p:nvPr/>
          </p:nvGrpSpPr>
          <p:grpSpPr>
            <a:xfrm>
              <a:off x="481263" y="2956325"/>
              <a:ext cx="11442032" cy="3420412"/>
              <a:chOff x="481263" y="2956325"/>
              <a:chExt cx="11442032" cy="3420412"/>
            </a:xfrm>
          </p:grpSpPr>
          <p:sp>
            <p:nvSpPr>
              <p:cNvPr id="31" name="Rectangle 42"/>
              <p:cNvSpPr/>
              <p:nvPr/>
            </p:nvSpPr>
            <p:spPr bwMode="auto">
              <a:xfrm>
                <a:off x="481263" y="2956325"/>
                <a:ext cx="11442032" cy="3420412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32" name="Picture 21"/>
              <p:cNvPicPr>
                <a:picLocks noChangeAspect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299755" y="5650151"/>
                <a:ext cx="1992060" cy="449576"/>
              </a:xfrm>
              <a:prstGeom prst="rect">
                <a:avLst/>
              </a:prstGeom>
            </p:spPr>
          </p:pic>
          <p:pic>
            <p:nvPicPr>
              <p:cNvPr id="33" name="Picture 23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0421" y="4611688"/>
                <a:ext cx="2381250" cy="257175"/>
              </a:xfrm>
              <a:prstGeom prst="rect">
                <a:avLst/>
              </a:prstGeom>
            </p:spPr>
          </p:pic>
          <p:pic>
            <p:nvPicPr>
              <p:cNvPr id="34" name="Picture 29"/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885741" y="4458046"/>
                <a:ext cx="1618348" cy="46957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5" name="Picture 32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48330" y="5602493"/>
                <a:ext cx="1396946" cy="509884"/>
              </a:xfrm>
              <a:prstGeom prst="rect">
                <a:avLst/>
              </a:prstGeom>
            </p:spPr>
          </p:pic>
          <p:pic>
            <p:nvPicPr>
              <p:cNvPr id="36" name="Picture 39"/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61405" y="3960743"/>
                <a:ext cx="1522067" cy="442284"/>
              </a:xfrm>
              <a:prstGeom prst="rect">
                <a:avLst/>
              </a:prstGeom>
            </p:spPr>
          </p:pic>
          <p:pic>
            <p:nvPicPr>
              <p:cNvPr id="37" name="Picture 37"/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63986" y="3320149"/>
                <a:ext cx="1427828" cy="332683"/>
              </a:xfrm>
              <a:prstGeom prst="rect">
                <a:avLst/>
              </a:prstGeom>
            </p:spPr>
          </p:pic>
          <p:pic>
            <p:nvPicPr>
              <p:cNvPr id="38" name="Picture 38"/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85023" y="3366861"/>
                <a:ext cx="1832814" cy="391732"/>
              </a:xfrm>
              <a:prstGeom prst="rect">
                <a:avLst/>
              </a:prstGeom>
            </p:spPr>
          </p:pic>
          <p:pic>
            <p:nvPicPr>
              <p:cNvPr id="39" name="Picture 41"/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60558" y="3085312"/>
                <a:ext cx="1598853" cy="614543"/>
              </a:xfrm>
              <a:prstGeom prst="rect">
                <a:avLst/>
              </a:prstGeom>
            </p:spPr>
          </p:pic>
          <p:pic>
            <p:nvPicPr>
              <p:cNvPr id="40" name="Picture 5"/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78488" y="3291050"/>
                <a:ext cx="1541804" cy="390880"/>
              </a:xfrm>
              <a:prstGeom prst="rect">
                <a:avLst/>
              </a:prstGeom>
            </p:spPr>
          </p:pic>
          <p:pic>
            <p:nvPicPr>
              <p:cNvPr id="41" name="Picture 6"/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52161" y="4362574"/>
                <a:ext cx="675353" cy="545780"/>
              </a:xfrm>
              <a:prstGeom prst="rect">
                <a:avLst/>
              </a:prstGeom>
            </p:spPr>
          </p:pic>
          <p:pic>
            <p:nvPicPr>
              <p:cNvPr id="42" name="Picture 7"/>
              <p:cNvPicPr>
                <a:picLocks noChangeAspect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43832" y="3800988"/>
                <a:ext cx="1562037" cy="587231"/>
              </a:xfrm>
              <a:prstGeom prst="rect">
                <a:avLst/>
              </a:prstGeom>
            </p:spPr>
          </p:pic>
          <p:pic>
            <p:nvPicPr>
              <p:cNvPr id="43" name="Picture 8"/>
              <p:cNvPicPr>
                <a:picLocks noChangeAspect="1"/>
              </p:cNvPicPr>
              <p:nvPr/>
            </p:nvPicPr>
            <p:blipFill rotWithShape="1">
              <a:blip r:embed="rId1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201569" y="3873716"/>
                <a:ext cx="2001420" cy="498849"/>
              </a:xfrm>
              <a:prstGeom prst="rect">
                <a:avLst/>
              </a:prstGeom>
            </p:spPr>
          </p:pic>
          <p:pic>
            <p:nvPicPr>
              <p:cNvPr id="44" name="Picture 9"/>
              <p:cNvPicPr>
                <a:picLocks noChangeAspect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29291" y="4403028"/>
                <a:ext cx="1026460" cy="679635"/>
              </a:xfrm>
              <a:prstGeom prst="rect">
                <a:avLst/>
              </a:prstGeom>
            </p:spPr>
          </p:pic>
          <p:pic>
            <p:nvPicPr>
              <p:cNvPr id="45" name="Picture 10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18554" y="5111279"/>
                <a:ext cx="1010735" cy="404294"/>
              </a:xfrm>
              <a:prstGeom prst="rect">
                <a:avLst/>
              </a:prstGeom>
            </p:spPr>
          </p:pic>
          <p:pic>
            <p:nvPicPr>
              <p:cNvPr id="46" name="Picture 11"/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75991" y="5085458"/>
                <a:ext cx="1809750" cy="295275"/>
              </a:xfrm>
              <a:prstGeom prst="rect">
                <a:avLst/>
              </a:prstGeom>
            </p:spPr>
          </p:pic>
          <p:pic>
            <p:nvPicPr>
              <p:cNvPr id="47" name="Picture 12"/>
              <p:cNvPicPr>
                <a:picLocks noChangeAspect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87798" y="5673266"/>
                <a:ext cx="1423843" cy="327484"/>
              </a:xfrm>
              <a:prstGeom prst="rect">
                <a:avLst/>
              </a:prstGeom>
            </p:spPr>
          </p:pic>
          <p:pic>
            <p:nvPicPr>
              <p:cNvPr id="48" name="Picture 13"/>
              <p:cNvPicPr>
                <a:picLocks noChangeAspect="1"/>
              </p:cNvPicPr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05737" y="5659363"/>
                <a:ext cx="1132535" cy="453014"/>
              </a:xfrm>
              <a:prstGeom prst="rect">
                <a:avLst/>
              </a:prstGeom>
            </p:spPr>
          </p:pic>
          <p:pic>
            <p:nvPicPr>
              <p:cNvPr id="49" name="Picture 24"/>
              <p:cNvPicPr>
                <a:picLocks noChangeAspect="1"/>
              </p:cNvPicPr>
              <p:nvPr/>
            </p:nvPicPr>
            <p:blipFill rotWithShape="1">
              <a:blip r:embed="rId20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564023" y="5043047"/>
                <a:ext cx="1276512" cy="45229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732252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adoop </a:t>
            </a:r>
            <a:r>
              <a:rPr lang="ko-KR" altLang="en-US" dirty="0"/>
              <a:t>비즈니스 응용 프로그램</a:t>
            </a:r>
          </a:p>
        </p:txBody>
      </p:sp>
      <p:grpSp>
        <p:nvGrpSpPr>
          <p:cNvPr id="33" name="Group 4"/>
          <p:cNvGrpSpPr/>
          <p:nvPr/>
        </p:nvGrpSpPr>
        <p:grpSpPr>
          <a:xfrm>
            <a:off x="3099329" y="1199454"/>
            <a:ext cx="2782804" cy="2689274"/>
            <a:chOff x="3161476" y="1223009"/>
            <a:chExt cx="2838605" cy="2743200"/>
          </a:xfrm>
        </p:grpSpPr>
        <p:sp>
          <p:nvSpPr>
            <p:cNvPr id="34" name="Rectangle 92"/>
            <p:cNvSpPr/>
            <p:nvPr/>
          </p:nvSpPr>
          <p:spPr bwMode="auto">
            <a:xfrm>
              <a:off x="3165441" y="1223009"/>
              <a:ext cx="2834640" cy="2743200"/>
            </a:xfrm>
            <a:prstGeom prst="rect">
              <a:avLst/>
            </a:prstGeom>
            <a:solidFill>
              <a:srgbClr val="00188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Retail</a:t>
              </a:r>
            </a:p>
          </p:txBody>
        </p:sp>
        <p:sp>
          <p:nvSpPr>
            <p:cNvPr id="35" name="Rectangle 7"/>
            <p:cNvSpPr/>
            <p:nvPr/>
          </p:nvSpPr>
          <p:spPr>
            <a:xfrm>
              <a:off x="3161476" y="1668599"/>
              <a:ext cx="2834640" cy="1280351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360°view of the customer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Analyze brand sentiment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Localized, personalized promotions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Website optimization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Optimal store layout</a:t>
              </a:r>
            </a:p>
          </p:txBody>
        </p:sp>
        <p:sp>
          <p:nvSpPr>
            <p:cNvPr id="36" name="Freeform 5"/>
            <p:cNvSpPr>
              <a:spLocks noEditPoints="1"/>
            </p:cNvSpPr>
            <p:nvPr/>
          </p:nvSpPr>
          <p:spPr bwMode="auto">
            <a:xfrm flipH="1">
              <a:off x="4940135" y="3040063"/>
              <a:ext cx="906115" cy="823219"/>
            </a:xfrm>
            <a:custGeom>
              <a:avLst/>
              <a:gdLst>
                <a:gd name="T0" fmla="*/ 237 w 2135"/>
                <a:gd name="T1" fmla="*/ 1317 h 1939"/>
                <a:gd name="T2" fmla="*/ 1476 w 2135"/>
                <a:gd name="T3" fmla="*/ 1410 h 1939"/>
                <a:gd name="T4" fmla="*/ 1865 w 2135"/>
                <a:gd name="T5" fmla="*/ 211 h 1939"/>
                <a:gd name="T6" fmla="*/ 2064 w 2135"/>
                <a:gd name="T7" fmla="*/ 144 h 1939"/>
                <a:gd name="T8" fmla="*/ 2064 w 2135"/>
                <a:gd name="T9" fmla="*/ 1 h 1939"/>
                <a:gd name="T10" fmla="*/ 1738 w 2135"/>
                <a:gd name="T11" fmla="*/ 93 h 1939"/>
                <a:gd name="T12" fmla="*/ 1614 w 2135"/>
                <a:gd name="T13" fmla="*/ 305 h 1939"/>
                <a:gd name="T14" fmla="*/ 17 w 2135"/>
                <a:gd name="T15" fmla="*/ 331 h 1939"/>
                <a:gd name="T16" fmla="*/ 1497 w 2135"/>
                <a:gd name="T17" fmla="*/ 768 h 1939"/>
                <a:gd name="T18" fmla="*/ 1391 w 2135"/>
                <a:gd name="T19" fmla="*/ 745 h 1939"/>
                <a:gd name="T20" fmla="*/ 1401 w 2135"/>
                <a:gd name="T21" fmla="*/ 540 h 1939"/>
                <a:gd name="T22" fmla="*/ 1562 w 2135"/>
                <a:gd name="T23" fmla="*/ 470 h 1939"/>
                <a:gd name="T24" fmla="*/ 1623 w 2135"/>
                <a:gd name="T25" fmla="*/ 548 h 1939"/>
                <a:gd name="T26" fmla="*/ 1582 w 2135"/>
                <a:gd name="T27" fmla="*/ 703 h 1939"/>
                <a:gd name="T28" fmla="*/ 1300 w 2135"/>
                <a:gd name="T29" fmla="*/ 1169 h 1939"/>
                <a:gd name="T30" fmla="*/ 1409 w 2135"/>
                <a:gd name="T31" fmla="*/ 933 h 1939"/>
                <a:gd name="T32" fmla="*/ 1497 w 2135"/>
                <a:gd name="T33" fmla="*/ 957 h 1939"/>
                <a:gd name="T34" fmla="*/ 1469 w 2135"/>
                <a:gd name="T35" fmla="*/ 1157 h 1939"/>
                <a:gd name="T36" fmla="*/ 1377 w 2135"/>
                <a:gd name="T37" fmla="*/ 1245 h 1939"/>
                <a:gd name="T38" fmla="*/ 1314 w 2135"/>
                <a:gd name="T39" fmla="*/ 1221 h 1939"/>
                <a:gd name="T40" fmla="*/ 1001 w 2135"/>
                <a:gd name="T41" fmla="*/ 1006 h 1939"/>
                <a:gd name="T42" fmla="*/ 1100 w 2135"/>
                <a:gd name="T43" fmla="*/ 933 h 1939"/>
                <a:gd name="T44" fmla="*/ 1164 w 2135"/>
                <a:gd name="T45" fmla="*/ 1009 h 1939"/>
                <a:gd name="T46" fmla="*/ 1065 w 2135"/>
                <a:gd name="T47" fmla="*/ 1245 h 1939"/>
                <a:gd name="T48" fmla="*/ 1001 w 2135"/>
                <a:gd name="T49" fmla="*/ 1006 h 1939"/>
                <a:gd name="T50" fmla="*/ 1073 w 2135"/>
                <a:gd name="T51" fmla="*/ 470 h 1939"/>
                <a:gd name="T52" fmla="*/ 1223 w 2135"/>
                <a:gd name="T53" fmla="*/ 494 h 1939"/>
                <a:gd name="T54" fmla="*/ 1212 w 2135"/>
                <a:gd name="T55" fmla="*/ 698 h 1939"/>
                <a:gd name="T56" fmla="*/ 1074 w 2135"/>
                <a:gd name="T57" fmla="*/ 768 h 1939"/>
                <a:gd name="T58" fmla="*/ 1001 w 2135"/>
                <a:gd name="T59" fmla="*/ 544 h 1939"/>
                <a:gd name="T60" fmla="*/ 742 w 2135"/>
                <a:gd name="T61" fmla="*/ 933 h 1939"/>
                <a:gd name="T62" fmla="*/ 840 w 2135"/>
                <a:gd name="T63" fmla="*/ 1006 h 1939"/>
                <a:gd name="T64" fmla="*/ 777 w 2135"/>
                <a:gd name="T65" fmla="*/ 1245 h 1939"/>
                <a:gd name="T66" fmla="*/ 678 w 2135"/>
                <a:gd name="T67" fmla="*/ 1009 h 1939"/>
                <a:gd name="T68" fmla="*/ 618 w 2135"/>
                <a:gd name="T69" fmla="*/ 494 h 1939"/>
                <a:gd name="T70" fmla="*/ 768 w 2135"/>
                <a:gd name="T71" fmla="*/ 470 h 1939"/>
                <a:gd name="T72" fmla="*/ 840 w 2135"/>
                <a:gd name="T73" fmla="*/ 695 h 1939"/>
                <a:gd name="T74" fmla="*/ 711 w 2135"/>
                <a:gd name="T75" fmla="*/ 768 h 1939"/>
                <a:gd name="T76" fmla="*/ 604 w 2135"/>
                <a:gd name="T77" fmla="*/ 546 h 1939"/>
                <a:gd name="T78" fmla="*/ 336 w 2135"/>
                <a:gd name="T79" fmla="*/ 957 h 1939"/>
                <a:gd name="T80" fmla="*/ 432 w 2135"/>
                <a:gd name="T81" fmla="*/ 933 h 1939"/>
                <a:gd name="T82" fmla="*/ 541 w 2135"/>
                <a:gd name="T83" fmla="*/ 1169 h 1939"/>
                <a:gd name="T84" fmla="*/ 480 w 2135"/>
                <a:gd name="T85" fmla="*/ 1245 h 1939"/>
                <a:gd name="T86" fmla="*/ 369 w 2135"/>
                <a:gd name="T87" fmla="*/ 1177 h 1939"/>
                <a:gd name="T88" fmla="*/ 325 w 2135"/>
                <a:gd name="T89" fmla="*/ 1009 h 1939"/>
                <a:gd name="T90" fmla="*/ 218 w 2135"/>
                <a:gd name="T91" fmla="*/ 495 h 1939"/>
                <a:gd name="T92" fmla="*/ 357 w 2135"/>
                <a:gd name="T93" fmla="*/ 470 h 1939"/>
                <a:gd name="T94" fmla="*/ 465 w 2135"/>
                <a:gd name="T95" fmla="*/ 692 h 1939"/>
                <a:gd name="T96" fmla="*/ 401 w 2135"/>
                <a:gd name="T97" fmla="*/ 768 h 1939"/>
                <a:gd name="T98" fmla="*/ 250 w 2135"/>
                <a:gd name="T99" fmla="*/ 700 h 1939"/>
                <a:gd name="T100" fmla="*/ 208 w 2135"/>
                <a:gd name="T101" fmla="*/ 545 h 1939"/>
                <a:gd name="T102" fmla="*/ 1204 w 2135"/>
                <a:gd name="T103" fmla="*/ 1729 h 1939"/>
                <a:gd name="T104" fmla="*/ 1614 w 2135"/>
                <a:gd name="T105" fmla="*/ 1729 h 1939"/>
                <a:gd name="T106" fmla="*/ 1204 w 2135"/>
                <a:gd name="T107" fmla="*/ 1729 h 1939"/>
                <a:gd name="T108" fmla="*/ 424 w 2135"/>
                <a:gd name="T109" fmla="*/ 1939 h 1939"/>
                <a:gd name="T110" fmla="*/ 424 w 2135"/>
                <a:gd name="T111" fmla="*/ 1519 h 1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35" h="1939">
                  <a:moveTo>
                    <a:pt x="5" y="389"/>
                  </a:moveTo>
                  <a:cubicBezTo>
                    <a:pt x="237" y="1317"/>
                    <a:pt x="237" y="1317"/>
                    <a:pt x="237" y="1317"/>
                  </a:cubicBezTo>
                  <a:cubicBezTo>
                    <a:pt x="251" y="1372"/>
                    <a:pt x="300" y="1410"/>
                    <a:pt x="356" y="1410"/>
                  </a:cubicBezTo>
                  <a:cubicBezTo>
                    <a:pt x="1476" y="1410"/>
                    <a:pt x="1476" y="1410"/>
                    <a:pt x="1476" y="1410"/>
                  </a:cubicBezTo>
                  <a:cubicBezTo>
                    <a:pt x="1532" y="1410"/>
                    <a:pt x="1581" y="1372"/>
                    <a:pt x="1595" y="1317"/>
                  </a:cubicBezTo>
                  <a:cubicBezTo>
                    <a:pt x="1865" y="211"/>
                    <a:pt x="1865" y="211"/>
                    <a:pt x="1865" y="211"/>
                  </a:cubicBezTo>
                  <a:cubicBezTo>
                    <a:pt x="1875" y="172"/>
                    <a:pt x="1910" y="144"/>
                    <a:pt x="1951" y="144"/>
                  </a:cubicBezTo>
                  <a:cubicBezTo>
                    <a:pt x="2064" y="144"/>
                    <a:pt x="2064" y="144"/>
                    <a:pt x="2064" y="144"/>
                  </a:cubicBezTo>
                  <a:cubicBezTo>
                    <a:pt x="2103" y="144"/>
                    <a:pt x="2135" y="112"/>
                    <a:pt x="2135" y="73"/>
                  </a:cubicBezTo>
                  <a:cubicBezTo>
                    <a:pt x="2135" y="33"/>
                    <a:pt x="2103" y="1"/>
                    <a:pt x="2064" y="1"/>
                  </a:cubicBezTo>
                  <a:cubicBezTo>
                    <a:pt x="1857" y="0"/>
                    <a:pt x="1857" y="0"/>
                    <a:pt x="1857" y="0"/>
                  </a:cubicBezTo>
                  <a:cubicBezTo>
                    <a:pt x="1801" y="0"/>
                    <a:pt x="1752" y="39"/>
                    <a:pt x="1738" y="93"/>
                  </a:cubicBezTo>
                  <a:cubicBezTo>
                    <a:pt x="1700" y="238"/>
                    <a:pt x="1700" y="238"/>
                    <a:pt x="1700" y="238"/>
                  </a:cubicBezTo>
                  <a:cubicBezTo>
                    <a:pt x="1690" y="278"/>
                    <a:pt x="1655" y="305"/>
                    <a:pt x="1614" y="305"/>
                  </a:cubicBezTo>
                  <a:cubicBezTo>
                    <a:pt x="71" y="305"/>
                    <a:pt x="71" y="305"/>
                    <a:pt x="71" y="305"/>
                  </a:cubicBezTo>
                  <a:cubicBezTo>
                    <a:pt x="50" y="305"/>
                    <a:pt x="30" y="315"/>
                    <a:pt x="17" y="331"/>
                  </a:cubicBezTo>
                  <a:cubicBezTo>
                    <a:pt x="5" y="348"/>
                    <a:pt x="0" y="369"/>
                    <a:pt x="5" y="389"/>
                  </a:cubicBezTo>
                  <a:close/>
                  <a:moveTo>
                    <a:pt x="1497" y="768"/>
                  </a:moveTo>
                  <a:cubicBezTo>
                    <a:pt x="1440" y="768"/>
                    <a:pt x="1440" y="768"/>
                    <a:pt x="1440" y="768"/>
                  </a:cubicBezTo>
                  <a:cubicBezTo>
                    <a:pt x="1421" y="768"/>
                    <a:pt x="1403" y="759"/>
                    <a:pt x="1391" y="745"/>
                  </a:cubicBezTo>
                  <a:cubicBezTo>
                    <a:pt x="1378" y="730"/>
                    <a:pt x="1373" y="711"/>
                    <a:pt x="1376" y="692"/>
                  </a:cubicBezTo>
                  <a:cubicBezTo>
                    <a:pt x="1401" y="540"/>
                    <a:pt x="1401" y="540"/>
                    <a:pt x="1401" y="540"/>
                  </a:cubicBezTo>
                  <a:cubicBezTo>
                    <a:pt x="1408" y="500"/>
                    <a:pt x="1442" y="470"/>
                    <a:pt x="1482" y="470"/>
                  </a:cubicBezTo>
                  <a:cubicBezTo>
                    <a:pt x="1562" y="470"/>
                    <a:pt x="1562" y="470"/>
                    <a:pt x="1562" y="470"/>
                  </a:cubicBezTo>
                  <a:cubicBezTo>
                    <a:pt x="1582" y="470"/>
                    <a:pt x="1601" y="479"/>
                    <a:pt x="1613" y="495"/>
                  </a:cubicBezTo>
                  <a:cubicBezTo>
                    <a:pt x="1624" y="510"/>
                    <a:pt x="1628" y="529"/>
                    <a:pt x="1623" y="548"/>
                  </a:cubicBezTo>
                  <a:cubicBezTo>
                    <a:pt x="1613" y="585"/>
                    <a:pt x="1613" y="585"/>
                    <a:pt x="1613" y="585"/>
                  </a:cubicBezTo>
                  <a:cubicBezTo>
                    <a:pt x="1604" y="620"/>
                    <a:pt x="1593" y="659"/>
                    <a:pt x="1582" y="703"/>
                  </a:cubicBezTo>
                  <a:cubicBezTo>
                    <a:pt x="1572" y="741"/>
                    <a:pt x="1537" y="768"/>
                    <a:pt x="1497" y="768"/>
                  </a:cubicBezTo>
                  <a:close/>
                  <a:moveTo>
                    <a:pt x="1300" y="1169"/>
                  </a:moveTo>
                  <a:cubicBezTo>
                    <a:pt x="1327" y="1003"/>
                    <a:pt x="1327" y="1003"/>
                    <a:pt x="1327" y="1003"/>
                  </a:cubicBezTo>
                  <a:cubicBezTo>
                    <a:pt x="1334" y="962"/>
                    <a:pt x="1368" y="933"/>
                    <a:pt x="1409" y="933"/>
                  </a:cubicBezTo>
                  <a:cubicBezTo>
                    <a:pt x="1448" y="933"/>
                    <a:pt x="1448" y="933"/>
                    <a:pt x="1448" y="933"/>
                  </a:cubicBezTo>
                  <a:cubicBezTo>
                    <a:pt x="1467" y="933"/>
                    <a:pt x="1486" y="942"/>
                    <a:pt x="1497" y="957"/>
                  </a:cubicBezTo>
                  <a:cubicBezTo>
                    <a:pt x="1509" y="971"/>
                    <a:pt x="1512" y="990"/>
                    <a:pt x="1508" y="1007"/>
                  </a:cubicBezTo>
                  <a:cubicBezTo>
                    <a:pt x="1493" y="1067"/>
                    <a:pt x="1480" y="1117"/>
                    <a:pt x="1469" y="1157"/>
                  </a:cubicBezTo>
                  <a:cubicBezTo>
                    <a:pt x="1463" y="1180"/>
                    <a:pt x="1463" y="1180"/>
                    <a:pt x="1463" y="1180"/>
                  </a:cubicBezTo>
                  <a:cubicBezTo>
                    <a:pt x="1452" y="1218"/>
                    <a:pt x="1417" y="1245"/>
                    <a:pt x="1377" y="1245"/>
                  </a:cubicBezTo>
                  <a:cubicBezTo>
                    <a:pt x="1366" y="1245"/>
                    <a:pt x="1366" y="1245"/>
                    <a:pt x="1366" y="1245"/>
                  </a:cubicBezTo>
                  <a:cubicBezTo>
                    <a:pt x="1346" y="1245"/>
                    <a:pt x="1327" y="1236"/>
                    <a:pt x="1314" y="1221"/>
                  </a:cubicBezTo>
                  <a:cubicBezTo>
                    <a:pt x="1302" y="1206"/>
                    <a:pt x="1297" y="1187"/>
                    <a:pt x="1300" y="1169"/>
                  </a:cubicBezTo>
                  <a:close/>
                  <a:moveTo>
                    <a:pt x="1001" y="1006"/>
                  </a:moveTo>
                  <a:cubicBezTo>
                    <a:pt x="1001" y="966"/>
                    <a:pt x="1034" y="933"/>
                    <a:pt x="1074" y="933"/>
                  </a:cubicBezTo>
                  <a:cubicBezTo>
                    <a:pt x="1100" y="933"/>
                    <a:pt x="1100" y="933"/>
                    <a:pt x="1100" y="933"/>
                  </a:cubicBezTo>
                  <a:cubicBezTo>
                    <a:pt x="1119" y="933"/>
                    <a:pt x="1137" y="942"/>
                    <a:pt x="1149" y="956"/>
                  </a:cubicBezTo>
                  <a:cubicBezTo>
                    <a:pt x="1161" y="971"/>
                    <a:pt x="1167" y="990"/>
                    <a:pt x="1164" y="1009"/>
                  </a:cubicBezTo>
                  <a:cubicBezTo>
                    <a:pt x="1134" y="1185"/>
                    <a:pt x="1134" y="1185"/>
                    <a:pt x="1134" y="1185"/>
                  </a:cubicBezTo>
                  <a:cubicBezTo>
                    <a:pt x="1129" y="1220"/>
                    <a:pt x="1099" y="1245"/>
                    <a:pt x="1065" y="1245"/>
                  </a:cubicBezTo>
                  <a:cubicBezTo>
                    <a:pt x="1030" y="1245"/>
                    <a:pt x="1001" y="1216"/>
                    <a:pt x="1001" y="1182"/>
                  </a:cubicBezTo>
                  <a:lnTo>
                    <a:pt x="1001" y="1006"/>
                  </a:lnTo>
                  <a:close/>
                  <a:moveTo>
                    <a:pt x="1001" y="544"/>
                  </a:moveTo>
                  <a:cubicBezTo>
                    <a:pt x="1001" y="503"/>
                    <a:pt x="1033" y="470"/>
                    <a:pt x="1073" y="470"/>
                  </a:cubicBezTo>
                  <a:cubicBezTo>
                    <a:pt x="1172" y="470"/>
                    <a:pt x="1172" y="470"/>
                    <a:pt x="1172" y="470"/>
                  </a:cubicBezTo>
                  <a:cubicBezTo>
                    <a:pt x="1192" y="470"/>
                    <a:pt x="1211" y="479"/>
                    <a:pt x="1223" y="494"/>
                  </a:cubicBezTo>
                  <a:cubicBezTo>
                    <a:pt x="1236" y="508"/>
                    <a:pt x="1241" y="527"/>
                    <a:pt x="1238" y="546"/>
                  </a:cubicBezTo>
                  <a:cubicBezTo>
                    <a:pt x="1212" y="698"/>
                    <a:pt x="1212" y="698"/>
                    <a:pt x="1212" y="698"/>
                  </a:cubicBezTo>
                  <a:cubicBezTo>
                    <a:pt x="1206" y="739"/>
                    <a:pt x="1171" y="768"/>
                    <a:pt x="1130" y="768"/>
                  </a:cubicBezTo>
                  <a:cubicBezTo>
                    <a:pt x="1074" y="768"/>
                    <a:pt x="1074" y="768"/>
                    <a:pt x="1074" y="768"/>
                  </a:cubicBezTo>
                  <a:cubicBezTo>
                    <a:pt x="1034" y="768"/>
                    <a:pt x="1001" y="735"/>
                    <a:pt x="1001" y="695"/>
                  </a:cubicBezTo>
                  <a:lnTo>
                    <a:pt x="1001" y="544"/>
                  </a:lnTo>
                  <a:close/>
                  <a:moveTo>
                    <a:pt x="692" y="956"/>
                  </a:moveTo>
                  <a:cubicBezTo>
                    <a:pt x="705" y="942"/>
                    <a:pt x="723" y="933"/>
                    <a:pt x="742" y="933"/>
                  </a:cubicBezTo>
                  <a:cubicBezTo>
                    <a:pt x="767" y="933"/>
                    <a:pt x="767" y="933"/>
                    <a:pt x="767" y="933"/>
                  </a:cubicBezTo>
                  <a:cubicBezTo>
                    <a:pt x="807" y="933"/>
                    <a:pt x="840" y="966"/>
                    <a:pt x="840" y="1006"/>
                  </a:cubicBezTo>
                  <a:cubicBezTo>
                    <a:pt x="840" y="1181"/>
                    <a:pt x="840" y="1181"/>
                    <a:pt x="840" y="1181"/>
                  </a:cubicBezTo>
                  <a:cubicBezTo>
                    <a:pt x="840" y="1216"/>
                    <a:pt x="812" y="1245"/>
                    <a:pt x="777" y="1245"/>
                  </a:cubicBezTo>
                  <a:cubicBezTo>
                    <a:pt x="742" y="1245"/>
                    <a:pt x="712" y="1220"/>
                    <a:pt x="707" y="1185"/>
                  </a:cubicBezTo>
                  <a:cubicBezTo>
                    <a:pt x="678" y="1009"/>
                    <a:pt x="678" y="1009"/>
                    <a:pt x="678" y="1009"/>
                  </a:cubicBezTo>
                  <a:cubicBezTo>
                    <a:pt x="675" y="990"/>
                    <a:pt x="680" y="971"/>
                    <a:pt x="692" y="956"/>
                  </a:cubicBezTo>
                  <a:close/>
                  <a:moveTo>
                    <a:pt x="618" y="494"/>
                  </a:moveTo>
                  <a:cubicBezTo>
                    <a:pt x="631" y="479"/>
                    <a:pt x="650" y="470"/>
                    <a:pt x="670" y="470"/>
                  </a:cubicBezTo>
                  <a:cubicBezTo>
                    <a:pt x="768" y="470"/>
                    <a:pt x="768" y="470"/>
                    <a:pt x="768" y="470"/>
                  </a:cubicBezTo>
                  <a:cubicBezTo>
                    <a:pt x="808" y="470"/>
                    <a:pt x="840" y="503"/>
                    <a:pt x="840" y="544"/>
                  </a:cubicBezTo>
                  <a:cubicBezTo>
                    <a:pt x="840" y="695"/>
                    <a:pt x="840" y="695"/>
                    <a:pt x="840" y="695"/>
                  </a:cubicBezTo>
                  <a:cubicBezTo>
                    <a:pt x="840" y="735"/>
                    <a:pt x="807" y="768"/>
                    <a:pt x="767" y="768"/>
                  </a:cubicBezTo>
                  <a:cubicBezTo>
                    <a:pt x="711" y="768"/>
                    <a:pt x="711" y="768"/>
                    <a:pt x="711" y="768"/>
                  </a:cubicBezTo>
                  <a:cubicBezTo>
                    <a:pt x="670" y="768"/>
                    <a:pt x="636" y="739"/>
                    <a:pt x="629" y="698"/>
                  </a:cubicBezTo>
                  <a:cubicBezTo>
                    <a:pt x="604" y="546"/>
                    <a:pt x="604" y="546"/>
                    <a:pt x="604" y="546"/>
                  </a:cubicBezTo>
                  <a:cubicBezTo>
                    <a:pt x="601" y="527"/>
                    <a:pt x="606" y="508"/>
                    <a:pt x="618" y="494"/>
                  </a:cubicBezTo>
                  <a:close/>
                  <a:moveTo>
                    <a:pt x="336" y="957"/>
                  </a:moveTo>
                  <a:cubicBezTo>
                    <a:pt x="348" y="942"/>
                    <a:pt x="365" y="933"/>
                    <a:pt x="384" y="933"/>
                  </a:cubicBezTo>
                  <a:cubicBezTo>
                    <a:pt x="432" y="933"/>
                    <a:pt x="432" y="933"/>
                    <a:pt x="432" y="933"/>
                  </a:cubicBezTo>
                  <a:cubicBezTo>
                    <a:pt x="473" y="933"/>
                    <a:pt x="507" y="962"/>
                    <a:pt x="514" y="1003"/>
                  </a:cubicBezTo>
                  <a:cubicBezTo>
                    <a:pt x="541" y="1169"/>
                    <a:pt x="541" y="1169"/>
                    <a:pt x="541" y="1169"/>
                  </a:cubicBezTo>
                  <a:cubicBezTo>
                    <a:pt x="545" y="1188"/>
                    <a:pt x="539" y="1208"/>
                    <a:pt x="527" y="1223"/>
                  </a:cubicBezTo>
                  <a:cubicBezTo>
                    <a:pt x="515" y="1237"/>
                    <a:pt x="498" y="1245"/>
                    <a:pt x="480" y="1245"/>
                  </a:cubicBezTo>
                  <a:cubicBezTo>
                    <a:pt x="452" y="1245"/>
                    <a:pt x="452" y="1245"/>
                    <a:pt x="452" y="1245"/>
                  </a:cubicBezTo>
                  <a:cubicBezTo>
                    <a:pt x="414" y="1245"/>
                    <a:pt x="380" y="1217"/>
                    <a:pt x="369" y="1177"/>
                  </a:cubicBezTo>
                  <a:cubicBezTo>
                    <a:pt x="364" y="1158"/>
                    <a:pt x="364" y="1158"/>
                    <a:pt x="364" y="1158"/>
                  </a:cubicBezTo>
                  <a:cubicBezTo>
                    <a:pt x="353" y="1119"/>
                    <a:pt x="340" y="1068"/>
                    <a:pt x="325" y="1009"/>
                  </a:cubicBezTo>
                  <a:cubicBezTo>
                    <a:pt x="320" y="991"/>
                    <a:pt x="324" y="972"/>
                    <a:pt x="336" y="957"/>
                  </a:cubicBezTo>
                  <a:close/>
                  <a:moveTo>
                    <a:pt x="218" y="495"/>
                  </a:moveTo>
                  <a:cubicBezTo>
                    <a:pt x="230" y="479"/>
                    <a:pt x="248" y="470"/>
                    <a:pt x="268" y="470"/>
                  </a:cubicBezTo>
                  <a:cubicBezTo>
                    <a:pt x="357" y="470"/>
                    <a:pt x="357" y="470"/>
                    <a:pt x="357" y="470"/>
                  </a:cubicBezTo>
                  <a:cubicBezTo>
                    <a:pt x="398" y="470"/>
                    <a:pt x="433" y="500"/>
                    <a:pt x="440" y="540"/>
                  </a:cubicBezTo>
                  <a:cubicBezTo>
                    <a:pt x="465" y="692"/>
                    <a:pt x="465" y="692"/>
                    <a:pt x="465" y="692"/>
                  </a:cubicBezTo>
                  <a:cubicBezTo>
                    <a:pt x="468" y="711"/>
                    <a:pt x="463" y="730"/>
                    <a:pt x="451" y="745"/>
                  </a:cubicBezTo>
                  <a:cubicBezTo>
                    <a:pt x="438" y="759"/>
                    <a:pt x="420" y="768"/>
                    <a:pt x="401" y="768"/>
                  </a:cubicBezTo>
                  <a:cubicBezTo>
                    <a:pt x="336" y="768"/>
                    <a:pt x="336" y="768"/>
                    <a:pt x="336" y="768"/>
                  </a:cubicBezTo>
                  <a:cubicBezTo>
                    <a:pt x="295" y="768"/>
                    <a:pt x="260" y="740"/>
                    <a:pt x="250" y="700"/>
                  </a:cubicBezTo>
                  <a:cubicBezTo>
                    <a:pt x="239" y="657"/>
                    <a:pt x="228" y="619"/>
                    <a:pt x="219" y="586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03" y="527"/>
                    <a:pt x="207" y="509"/>
                    <a:pt x="218" y="495"/>
                  </a:cubicBezTo>
                  <a:close/>
                  <a:moveTo>
                    <a:pt x="1204" y="1729"/>
                  </a:moveTo>
                  <a:cubicBezTo>
                    <a:pt x="1204" y="1845"/>
                    <a:pt x="1296" y="1939"/>
                    <a:pt x="1409" y="1939"/>
                  </a:cubicBezTo>
                  <a:cubicBezTo>
                    <a:pt x="1522" y="1939"/>
                    <a:pt x="1614" y="1845"/>
                    <a:pt x="1614" y="1729"/>
                  </a:cubicBezTo>
                  <a:cubicBezTo>
                    <a:pt x="1614" y="1613"/>
                    <a:pt x="1522" y="1519"/>
                    <a:pt x="1409" y="1519"/>
                  </a:cubicBezTo>
                  <a:cubicBezTo>
                    <a:pt x="1296" y="1519"/>
                    <a:pt x="1204" y="1613"/>
                    <a:pt x="1204" y="1729"/>
                  </a:cubicBezTo>
                  <a:close/>
                  <a:moveTo>
                    <a:pt x="219" y="1729"/>
                  </a:moveTo>
                  <a:cubicBezTo>
                    <a:pt x="219" y="1845"/>
                    <a:pt x="311" y="1939"/>
                    <a:pt x="424" y="1939"/>
                  </a:cubicBezTo>
                  <a:cubicBezTo>
                    <a:pt x="537" y="1939"/>
                    <a:pt x="629" y="1845"/>
                    <a:pt x="629" y="1729"/>
                  </a:cubicBezTo>
                  <a:cubicBezTo>
                    <a:pt x="629" y="1613"/>
                    <a:pt x="537" y="1519"/>
                    <a:pt x="424" y="1519"/>
                  </a:cubicBezTo>
                  <a:cubicBezTo>
                    <a:pt x="311" y="1519"/>
                    <a:pt x="219" y="1613"/>
                    <a:pt x="219" y="17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8C00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37" name="Group 3"/>
          <p:cNvGrpSpPr/>
          <p:nvPr/>
        </p:nvGrpSpPr>
        <p:grpSpPr>
          <a:xfrm>
            <a:off x="279201" y="1199454"/>
            <a:ext cx="2778917" cy="2689274"/>
            <a:chOff x="284799" y="1223009"/>
            <a:chExt cx="2834640" cy="2743200"/>
          </a:xfrm>
        </p:grpSpPr>
        <p:sp>
          <p:nvSpPr>
            <p:cNvPr id="38" name="Rectangle 91"/>
            <p:cNvSpPr/>
            <p:nvPr/>
          </p:nvSpPr>
          <p:spPr bwMode="auto">
            <a:xfrm>
              <a:off x="284799" y="1223009"/>
              <a:ext cx="2834640" cy="2743200"/>
            </a:xfrm>
            <a:prstGeom prst="rect">
              <a:avLst/>
            </a:prstGeom>
            <a:solidFill>
              <a:srgbClr val="00188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inancial services</a:t>
              </a:r>
            </a:p>
          </p:txBody>
        </p:sp>
        <p:sp>
          <p:nvSpPr>
            <p:cNvPr id="39" name="Rectangle 5"/>
            <p:cNvSpPr/>
            <p:nvPr/>
          </p:nvSpPr>
          <p:spPr>
            <a:xfrm>
              <a:off x="286637" y="1668599"/>
              <a:ext cx="2832802" cy="1485022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New account risk screens</a:t>
              </a:r>
            </a:p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aud prevention</a:t>
              </a:r>
            </a:p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rading risk</a:t>
              </a:r>
            </a:p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ximize deposit spread</a:t>
              </a:r>
            </a:p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nsurance underwriting</a:t>
              </a:r>
            </a:p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ccelerate loan processing</a:t>
              </a:r>
            </a:p>
          </p:txBody>
        </p: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2209758" y="3040063"/>
              <a:ext cx="765287" cy="823219"/>
            </a:xfrm>
            <a:custGeom>
              <a:avLst/>
              <a:gdLst>
                <a:gd name="T0" fmla="*/ 30 w 2419"/>
                <a:gd name="T1" fmla="*/ 816 h 2602"/>
                <a:gd name="T2" fmla="*/ 0 w 2419"/>
                <a:gd name="T3" fmla="*/ 533 h 2602"/>
                <a:gd name="T4" fmla="*/ 2419 w 2419"/>
                <a:gd name="T5" fmla="*/ 785 h 2602"/>
                <a:gd name="T6" fmla="*/ 1179 w 2419"/>
                <a:gd name="T7" fmla="*/ 8 h 2602"/>
                <a:gd name="T8" fmla="*/ 0 w 2419"/>
                <a:gd name="T9" fmla="*/ 444 h 2602"/>
                <a:gd name="T10" fmla="*/ 1239 w 2419"/>
                <a:gd name="T11" fmla="*/ 8 h 2602"/>
                <a:gd name="T12" fmla="*/ 30 w 2419"/>
                <a:gd name="T13" fmla="*/ 2208 h 2602"/>
                <a:gd name="T14" fmla="*/ 0 w 2419"/>
                <a:gd name="T15" fmla="*/ 2573 h 2602"/>
                <a:gd name="T16" fmla="*/ 703 w 2419"/>
                <a:gd name="T17" fmla="*/ 2602 h 2602"/>
                <a:gd name="T18" fmla="*/ 733 w 2419"/>
                <a:gd name="T19" fmla="*/ 2498 h 2602"/>
                <a:gd name="T20" fmla="*/ 1625 w 2419"/>
                <a:gd name="T21" fmla="*/ 2439 h 2602"/>
                <a:gd name="T22" fmla="*/ 1685 w 2419"/>
                <a:gd name="T23" fmla="*/ 2573 h 2602"/>
                <a:gd name="T24" fmla="*/ 2388 w 2419"/>
                <a:gd name="T25" fmla="*/ 2602 h 2602"/>
                <a:gd name="T26" fmla="*/ 2419 w 2419"/>
                <a:gd name="T27" fmla="*/ 2238 h 2602"/>
                <a:gd name="T28" fmla="*/ 30 w 2419"/>
                <a:gd name="T29" fmla="*/ 2208 h 2602"/>
                <a:gd name="T30" fmla="*/ 126 w 2419"/>
                <a:gd name="T31" fmla="*/ 2086 h 2602"/>
                <a:gd name="T32" fmla="*/ 489 w 2419"/>
                <a:gd name="T33" fmla="*/ 1981 h 2602"/>
                <a:gd name="T34" fmla="*/ 549 w 2419"/>
                <a:gd name="T35" fmla="*/ 932 h 2602"/>
                <a:gd name="T36" fmla="*/ 232 w 2419"/>
                <a:gd name="T37" fmla="*/ 1076 h 2602"/>
                <a:gd name="T38" fmla="*/ 126 w 2419"/>
                <a:gd name="T39" fmla="*/ 2086 h 2602"/>
                <a:gd name="T40" fmla="*/ 1168 w 2419"/>
                <a:gd name="T41" fmla="*/ 2086 h 2602"/>
                <a:gd name="T42" fmla="*/ 1062 w 2419"/>
                <a:gd name="T43" fmla="*/ 1076 h 2602"/>
                <a:gd name="T44" fmla="*/ 736 w 2419"/>
                <a:gd name="T45" fmla="*/ 932 h 2602"/>
                <a:gd name="T46" fmla="*/ 796 w 2419"/>
                <a:gd name="T47" fmla="*/ 1981 h 2602"/>
                <a:gd name="T48" fmla="*/ 1263 w 2419"/>
                <a:gd name="T49" fmla="*/ 2086 h 2602"/>
                <a:gd name="T50" fmla="*/ 1623 w 2419"/>
                <a:gd name="T51" fmla="*/ 1981 h 2602"/>
                <a:gd name="T52" fmla="*/ 1683 w 2419"/>
                <a:gd name="T53" fmla="*/ 932 h 2602"/>
                <a:gd name="T54" fmla="*/ 1368 w 2419"/>
                <a:gd name="T55" fmla="*/ 1076 h 2602"/>
                <a:gd name="T56" fmla="*/ 1263 w 2419"/>
                <a:gd name="T57" fmla="*/ 2086 h 2602"/>
                <a:gd name="T58" fmla="*/ 2298 w 2419"/>
                <a:gd name="T59" fmla="*/ 2086 h 2602"/>
                <a:gd name="T60" fmla="*/ 2191 w 2419"/>
                <a:gd name="T61" fmla="*/ 1076 h 2602"/>
                <a:gd name="T62" fmla="*/ 1866 w 2419"/>
                <a:gd name="T63" fmla="*/ 932 h 2602"/>
                <a:gd name="T64" fmla="*/ 1934 w 2419"/>
                <a:gd name="T65" fmla="*/ 1076 h 2602"/>
                <a:gd name="T66" fmla="*/ 1828 w 2419"/>
                <a:gd name="T67" fmla="*/ 2086 h 2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19" h="2602">
                  <a:moveTo>
                    <a:pt x="2388" y="816"/>
                  </a:moveTo>
                  <a:cubicBezTo>
                    <a:pt x="30" y="816"/>
                    <a:pt x="30" y="816"/>
                    <a:pt x="30" y="816"/>
                  </a:cubicBezTo>
                  <a:cubicBezTo>
                    <a:pt x="15" y="816"/>
                    <a:pt x="0" y="801"/>
                    <a:pt x="0" y="785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2419" y="533"/>
                    <a:pt x="2419" y="533"/>
                    <a:pt x="2419" y="533"/>
                  </a:cubicBezTo>
                  <a:cubicBezTo>
                    <a:pt x="2419" y="785"/>
                    <a:pt x="2419" y="785"/>
                    <a:pt x="2419" y="785"/>
                  </a:cubicBezTo>
                  <a:cubicBezTo>
                    <a:pt x="2419" y="801"/>
                    <a:pt x="2404" y="816"/>
                    <a:pt x="2388" y="816"/>
                  </a:cubicBezTo>
                  <a:close/>
                  <a:moveTo>
                    <a:pt x="1179" y="8"/>
                  </a:moveTo>
                  <a:cubicBezTo>
                    <a:pt x="1179" y="8"/>
                    <a:pt x="1179" y="8"/>
                    <a:pt x="1179" y="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2419" y="444"/>
                  </a:cubicBezTo>
                  <a:cubicBezTo>
                    <a:pt x="2419" y="444"/>
                    <a:pt x="2419" y="444"/>
                    <a:pt x="1239" y="8"/>
                  </a:cubicBezTo>
                  <a:cubicBezTo>
                    <a:pt x="1224" y="0"/>
                    <a:pt x="1194" y="0"/>
                    <a:pt x="1179" y="8"/>
                  </a:cubicBezTo>
                  <a:close/>
                  <a:moveTo>
                    <a:pt x="30" y="2208"/>
                  </a:moveTo>
                  <a:cubicBezTo>
                    <a:pt x="15" y="2208"/>
                    <a:pt x="0" y="2223"/>
                    <a:pt x="0" y="2238"/>
                  </a:cubicBezTo>
                  <a:cubicBezTo>
                    <a:pt x="0" y="2573"/>
                    <a:pt x="0" y="2573"/>
                    <a:pt x="0" y="2573"/>
                  </a:cubicBezTo>
                  <a:cubicBezTo>
                    <a:pt x="0" y="2587"/>
                    <a:pt x="15" y="2602"/>
                    <a:pt x="30" y="2602"/>
                  </a:cubicBezTo>
                  <a:cubicBezTo>
                    <a:pt x="703" y="2602"/>
                    <a:pt x="703" y="2602"/>
                    <a:pt x="703" y="2602"/>
                  </a:cubicBezTo>
                  <a:cubicBezTo>
                    <a:pt x="718" y="2602"/>
                    <a:pt x="733" y="2587"/>
                    <a:pt x="733" y="2573"/>
                  </a:cubicBezTo>
                  <a:cubicBezTo>
                    <a:pt x="733" y="2498"/>
                    <a:pt x="733" y="2498"/>
                    <a:pt x="733" y="2498"/>
                  </a:cubicBezTo>
                  <a:cubicBezTo>
                    <a:pt x="733" y="2461"/>
                    <a:pt x="763" y="2439"/>
                    <a:pt x="794" y="2439"/>
                  </a:cubicBezTo>
                  <a:cubicBezTo>
                    <a:pt x="1625" y="2439"/>
                    <a:pt x="1625" y="2439"/>
                    <a:pt x="1625" y="2439"/>
                  </a:cubicBezTo>
                  <a:cubicBezTo>
                    <a:pt x="1655" y="2439"/>
                    <a:pt x="1685" y="2461"/>
                    <a:pt x="1685" y="2498"/>
                  </a:cubicBezTo>
                  <a:cubicBezTo>
                    <a:pt x="1685" y="2573"/>
                    <a:pt x="1685" y="2573"/>
                    <a:pt x="1685" y="2573"/>
                  </a:cubicBezTo>
                  <a:cubicBezTo>
                    <a:pt x="1685" y="2587"/>
                    <a:pt x="1701" y="2602"/>
                    <a:pt x="1716" y="2602"/>
                  </a:cubicBezTo>
                  <a:cubicBezTo>
                    <a:pt x="2388" y="2602"/>
                    <a:pt x="2388" y="2602"/>
                    <a:pt x="2388" y="2602"/>
                  </a:cubicBezTo>
                  <a:cubicBezTo>
                    <a:pt x="2404" y="2602"/>
                    <a:pt x="2419" y="2587"/>
                    <a:pt x="2419" y="2573"/>
                  </a:cubicBezTo>
                  <a:cubicBezTo>
                    <a:pt x="2419" y="2238"/>
                    <a:pt x="2419" y="2238"/>
                    <a:pt x="2419" y="2238"/>
                  </a:cubicBezTo>
                  <a:cubicBezTo>
                    <a:pt x="2419" y="2223"/>
                    <a:pt x="2404" y="2208"/>
                    <a:pt x="2388" y="2208"/>
                  </a:cubicBezTo>
                  <a:cubicBezTo>
                    <a:pt x="30" y="2208"/>
                    <a:pt x="30" y="2208"/>
                    <a:pt x="30" y="2208"/>
                  </a:cubicBezTo>
                  <a:cubicBezTo>
                    <a:pt x="30" y="2208"/>
                    <a:pt x="30" y="2208"/>
                    <a:pt x="30" y="2208"/>
                  </a:cubicBezTo>
                  <a:close/>
                  <a:moveTo>
                    <a:pt x="126" y="2086"/>
                  </a:moveTo>
                  <a:cubicBezTo>
                    <a:pt x="595" y="2086"/>
                    <a:pt x="595" y="2086"/>
                    <a:pt x="595" y="2086"/>
                  </a:cubicBezTo>
                  <a:cubicBezTo>
                    <a:pt x="572" y="2041"/>
                    <a:pt x="534" y="2003"/>
                    <a:pt x="489" y="1981"/>
                  </a:cubicBezTo>
                  <a:cubicBezTo>
                    <a:pt x="489" y="1076"/>
                    <a:pt x="489" y="1076"/>
                    <a:pt x="489" y="1076"/>
                  </a:cubicBezTo>
                  <a:cubicBezTo>
                    <a:pt x="564" y="1098"/>
                    <a:pt x="632" y="1000"/>
                    <a:pt x="549" y="932"/>
                  </a:cubicBezTo>
                  <a:cubicBezTo>
                    <a:pt x="172" y="932"/>
                    <a:pt x="172" y="932"/>
                    <a:pt x="172" y="932"/>
                  </a:cubicBezTo>
                  <a:cubicBezTo>
                    <a:pt x="89" y="1000"/>
                    <a:pt x="157" y="1098"/>
                    <a:pt x="232" y="1076"/>
                  </a:cubicBezTo>
                  <a:cubicBezTo>
                    <a:pt x="232" y="1981"/>
                    <a:pt x="232" y="1981"/>
                    <a:pt x="232" y="1981"/>
                  </a:cubicBezTo>
                  <a:cubicBezTo>
                    <a:pt x="187" y="2003"/>
                    <a:pt x="149" y="2041"/>
                    <a:pt x="126" y="2086"/>
                  </a:cubicBezTo>
                  <a:close/>
                  <a:moveTo>
                    <a:pt x="690" y="2086"/>
                  </a:moveTo>
                  <a:cubicBezTo>
                    <a:pt x="1168" y="2086"/>
                    <a:pt x="1168" y="2086"/>
                    <a:pt x="1168" y="2086"/>
                  </a:cubicBezTo>
                  <a:cubicBezTo>
                    <a:pt x="1145" y="2041"/>
                    <a:pt x="1107" y="2003"/>
                    <a:pt x="1062" y="1981"/>
                  </a:cubicBezTo>
                  <a:cubicBezTo>
                    <a:pt x="1062" y="1076"/>
                    <a:pt x="1062" y="1076"/>
                    <a:pt x="1062" y="1076"/>
                  </a:cubicBezTo>
                  <a:cubicBezTo>
                    <a:pt x="1138" y="1098"/>
                    <a:pt x="1198" y="1000"/>
                    <a:pt x="1122" y="932"/>
                  </a:cubicBezTo>
                  <a:cubicBezTo>
                    <a:pt x="736" y="932"/>
                    <a:pt x="736" y="932"/>
                    <a:pt x="736" y="932"/>
                  </a:cubicBezTo>
                  <a:cubicBezTo>
                    <a:pt x="660" y="1000"/>
                    <a:pt x="721" y="1098"/>
                    <a:pt x="796" y="1076"/>
                  </a:cubicBezTo>
                  <a:cubicBezTo>
                    <a:pt x="796" y="1981"/>
                    <a:pt x="796" y="1981"/>
                    <a:pt x="796" y="1981"/>
                  </a:cubicBezTo>
                  <a:cubicBezTo>
                    <a:pt x="751" y="2003"/>
                    <a:pt x="713" y="2041"/>
                    <a:pt x="690" y="2086"/>
                  </a:cubicBezTo>
                  <a:close/>
                  <a:moveTo>
                    <a:pt x="1263" y="2086"/>
                  </a:moveTo>
                  <a:cubicBezTo>
                    <a:pt x="1728" y="2086"/>
                    <a:pt x="1728" y="2086"/>
                    <a:pt x="1728" y="2086"/>
                  </a:cubicBezTo>
                  <a:cubicBezTo>
                    <a:pt x="1706" y="2041"/>
                    <a:pt x="1668" y="2003"/>
                    <a:pt x="1623" y="1981"/>
                  </a:cubicBezTo>
                  <a:cubicBezTo>
                    <a:pt x="1623" y="1076"/>
                    <a:pt x="1623" y="1076"/>
                    <a:pt x="1623" y="1076"/>
                  </a:cubicBezTo>
                  <a:cubicBezTo>
                    <a:pt x="1698" y="1098"/>
                    <a:pt x="1759" y="1000"/>
                    <a:pt x="1683" y="932"/>
                  </a:cubicBezTo>
                  <a:cubicBezTo>
                    <a:pt x="1308" y="932"/>
                    <a:pt x="1308" y="932"/>
                    <a:pt x="1308" y="932"/>
                  </a:cubicBezTo>
                  <a:cubicBezTo>
                    <a:pt x="1226" y="1000"/>
                    <a:pt x="1293" y="1098"/>
                    <a:pt x="1368" y="1076"/>
                  </a:cubicBezTo>
                  <a:cubicBezTo>
                    <a:pt x="1368" y="1981"/>
                    <a:pt x="1368" y="1981"/>
                    <a:pt x="1368" y="1981"/>
                  </a:cubicBezTo>
                  <a:cubicBezTo>
                    <a:pt x="1323" y="2003"/>
                    <a:pt x="1286" y="2041"/>
                    <a:pt x="1263" y="2086"/>
                  </a:cubicBezTo>
                  <a:close/>
                  <a:moveTo>
                    <a:pt x="1828" y="2086"/>
                  </a:moveTo>
                  <a:cubicBezTo>
                    <a:pt x="2298" y="2086"/>
                    <a:pt x="2298" y="2086"/>
                    <a:pt x="2298" y="2086"/>
                  </a:cubicBezTo>
                  <a:cubicBezTo>
                    <a:pt x="2275" y="2041"/>
                    <a:pt x="2237" y="2003"/>
                    <a:pt x="2191" y="1981"/>
                  </a:cubicBezTo>
                  <a:cubicBezTo>
                    <a:pt x="2191" y="1076"/>
                    <a:pt x="2191" y="1076"/>
                    <a:pt x="2191" y="1076"/>
                  </a:cubicBezTo>
                  <a:cubicBezTo>
                    <a:pt x="2267" y="1098"/>
                    <a:pt x="2335" y="1000"/>
                    <a:pt x="2252" y="932"/>
                  </a:cubicBezTo>
                  <a:cubicBezTo>
                    <a:pt x="1866" y="932"/>
                    <a:pt x="1866" y="932"/>
                    <a:pt x="1866" y="932"/>
                  </a:cubicBezTo>
                  <a:cubicBezTo>
                    <a:pt x="1866" y="932"/>
                    <a:pt x="1866" y="932"/>
                    <a:pt x="1866" y="932"/>
                  </a:cubicBezTo>
                  <a:cubicBezTo>
                    <a:pt x="1797" y="1000"/>
                    <a:pt x="1858" y="1098"/>
                    <a:pt x="1934" y="1076"/>
                  </a:cubicBezTo>
                  <a:cubicBezTo>
                    <a:pt x="1934" y="1981"/>
                    <a:pt x="1934" y="1981"/>
                    <a:pt x="1934" y="1981"/>
                  </a:cubicBezTo>
                  <a:cubicBezTo>
                    <a:pt x="1888" y="2003"/>
                    <a:pt x="1850" y="2041"/>
                    <a:pt x="1828" y="20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41" name="Group 8"/>
          <p:cNvGrpSpPr/>
          <p:nvPr/>
        </p:nvGrpSpPr>
        <p:grpSpPr>
          <a:xfrm>
            <a:off x="5926451" y="1199454"/>
            <a:ext cx="2779696" cy="2689274"/>
            <a:chOff x="6045288" y="1223009"/>
            <a:chExt cx="2835435" cy="2743200"/>
          </a:xfrm>
        </p:grpSpPr>
        <p:sp>
          <p:nvSpPr>
            <p:cNvPr id="42" name="Rectangle 93"/>
            <p:cNvSpPr/>
            <p:nvPr/>
          </p:nvSpPr>
          <p:spPr bwMode="auto">
            <a:xfrm>
              <a:off x="6046083" y="1223009"/>
              <a:ext cx="2834640" cy="2743200"/>
            </a:xfrm>
            <a:prstGeom prst="rect">
              <a:avLst/>
            </a:prstGeom>
            <a:solidFill>
              <a:srgbClr val="00188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elecom</a:t>
              </a:r>
            </a:p>
          </p:txBody>
        </p:sp>
        <p:sp>
          <p:nvSpPr>
            <p:cNvPr id="43" name="Rectangle 6"/>
            <p:cNvSpPr/>
            <p:nvPr/>
          </p:nvSpPr>
          <p:spPr>
            <a:xfrm>
              <a:off x="6045288" y="1668599"/>
              <a:ext cx="2834640" cy="1280351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Call detail records (CDRs)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Infrastructure investment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Next product to buy (NPTB)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Real-time bandwidth allocation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New product development</a:t>
              </a:r>
            </a:p>
          </p:txBody>
        </p:sp>
        <p:sp>
          <p:nvSpPr>
            <p:cNvPr id="44" name="Freeform 13"/>
            <p:cNvSpPr>
              <a:spLocks noChangeAspect="1" noEditPoints="1"/>
            </p:cNvSpPr>
            <p:nvPr/>
          </p:nvSpPr>
          <p:spPr bwMode="auto">
            <a:xfrm>
              <a:off x="8016040" y="3040063"/>
              <a:ext cx="716892" cy="823219"/>
            </a:xfrm>
            <a:custGeom>
              <a:avLst/>
              <a:gdLst>
                <a:gd name="T0" fmla="*/ 1487 w 1570"/>
                <a:gd name="T1" fmla="*/ 1467 h 1803"/>
                <a:gd name="T2" fmla="*/ 398 w 1570"/>
                <a:gd name="T3" fmla="*/ 1320 h 1803"/>
                <a:gd name="T4" fmla="*/ 147 w 1570"/>
                <a:gd name="T5" fmla="*/ 1530 h 1803"/>
                <a:gd name="T6" fmla="*/ 147 w 1570"/>
                <a:gd name="T7" fmla="*/ 1761 h 1803"/>
                <a:gd name="T8" fmla="*/ 1424 w 1570"/>
                <a:gd name="T9" fmla="*/ 1761 h 1803"/>
                <a:gd name="T10" fmla="*/ 1424 w 1570"/>
                <a:gd name="T11" fmla="*/ 1803 h 1803"/>
                <a:gd name="T12" fmla="*/ 105 w 1570"/>
                <a:gd name="T13" fmla="*/ 1803 h 1803"/>
                <a:gd name="T14" fmla="*/ 105 w 1570"/>
                <a:gd name="T15" fmla="*/ 1488 h 1803"/>
                <a:gd name="T16" fmla="*/ 356 w 1570"/>
                <a:gd name="T17" fmla="*/ 1279 h 1803"/>
                <a:gd name="T18" fmla="*/ 314 w 1570"/>
                <a:gd name="T19" fmla="*/ 1216 h 1803"/>
                <a:gd name="T20" fmla="*/ 252 w 1570"/>
                <a:gd name="T21" fmla="*/ 0 h 1803"/>
                <a:gd name="T22" fmla="*/ 587 w 1570"/>
                <a:gd name="T23" fmla="*/ 398 h 1803"/>
                <a:gd name="T24" fmla="*/ 1215 w 1570"/>
                <a:gd name="T25" fmla="*/ 419 h 1803"/>
                <a:gd name="T26" fmla="*/ 1256 w 1570"/>
                <a:gd name="T27" fmla="*/ 377 h 1803"/>
                <a:gd name="T28" fmla="*/ 1277 w 1570"/>
                <a:gd name="T29" fmla="*/ 335 h 1803"/>
                <a:gd name="T30" fmla="*/ 1319 w 1570"/>
                <a:gd name="T31" fmla="*/ 314 h 1803"/>
                <a:gd name="T32" fmla="*/ 1382 w 1570"/>
                <a:gd name="T33" fmla="*/ 272 h 1803"/>
                <a:gd name="T34" fmla="*/ 1403 w 1570"/>
                <a:gd name="T35" fmla="*/ 230 h 1803"/>
                <a:gd name="T36" fmla="*/ 1445 w 1570"/>
                <a:gd name="T37" fmla="*/ 210 h 1803"/>
                <a:gd name="T38" fmla="*/ 1529 w 1570"/>
                <a:gd name="T39" fmla="*/ 147 h 1803"/>
                <a:gd name="T40" fmla="*/ 1570 w 1570"/>
                <a:gd name="T41" fmla="*/ 210 h 1803"/>
                <a:gd name="T42" fmla="*/ 1508 w 1570"/>
                <a:gd name="T43" fmla="*/ 272 h 1803"/>
                <a:gd name="T44" fmla="*/ 1487 w 1570"/>
                <a:gd name="T45" fmla="*/ 314 h 1803"/>
                <a:gd name="T46" fmla="*/ 1445 w 1570"/>
                <a:gd name="T47" fmla="*/ 335 h 1803"/>
                <a:gd name="T48" fmla="*/ 1382 w 1570"/>
                <a:gd name="T49" fmla="*/ 377 h 1803"/>
                <a:gd name="T50" fmla="*/ 1361 w 1570"/>
                <a:gd name="T51" fmla="*/ 419 h 1803"/>
                <a:gd name="T52" fmla="*/ 1319 w 1570"/>
                <a:gd name="T53" fmla="*/ 440 h 1803"/>
                <a:gd name="T54" fmla="*/ 1256 w 1570"/>
                <a:gd name="T55" fmla="*/ 482 h 1803"/>
                <a:gd name="T56" fmla="*/ 1173 w 1570"/>
                <a:gd name="T57" fmla="*/ 1090 h 1803"/>
                <a:gd name="T58" fmla="*/ 1487 w 1570"/>
                <a:gd name="T59" fmla="*/ 1467 h 1803"/>
                <a:gd name="T60" fmla="*/ 1068 w 1570"/>
                <a:gd name="T61" fmla="*/ 629 h 1803"/>
                <a:gd name="T62" fmla="*/ 1047 w 1570"/>
                <a:gd name="T63" fmla="*/ 713 h 1803"/>
                <a:gd name="T64" fmla="*/ 963 w 1570"/>
                <a:gd name="T65" fmla="*/ 734 h 1803"/>
                <a:gd name="T66" fmla="*/ 901 w 1570"/>
                <a:gd name="T67" fmla="*/ 775 h 1803"/>
                <a:gd name="T68" fmla="*/ 1152 w 1570"/>
                <a:gd name="T69" fmla="*/ 1048 h 1803"/>
                <a:gd name="T70" fmla="*/ 1215 w 1570"/>
                <a:gd name="T71" fmla="*/ 524 h 1803"/>
                <a:gd name="T72" fmla="*/ 1068 w 1570"/>
                <a:gd name="T73" fmla="*/ 629 h 1803"/>
                <a:gd name="T74" fmla="*/ 901 w 1570"/>
                <a:gd name="T75" fmla="*/ 671 h 1803"/>
                <a:gd name="T76" fmla="*/ 942 w 1570"/>
                <a:gd name="T77" fmla="*/ 587 h 1803"/>
                <a:gd name="T78" fmla="*/ 1026 w 1570"/>
                <a:gd name="T79" fmla="*/ 566 h 1803"/>
                <a:gd name="T80" fmla="*/ 1152 w 1570"/>
                <a:gd name="T81" fmla="*/ 461 h 1803"/>
                <a:gd name="T82" fmla="*/ 628 w 1570"/>
                <a:gd name="T83" fmla="*/ 440 h 1803"/>
                <a:gd name="T84" fmla="*/ 859 w 1570"/>
                <a:gd name="T85" fmla="*/ 713 h 1803"/>
                <a:gd name="T86" fmla="*/ 901 w 1570"/>
                <a:gd name="T87" fmla="*/ 671 h 1803"/>
                <a:gd name="T88" fmla="*/ 901 w 1570"/>
                <a:gd name="T89" fmla="*/ 671 h 1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70" h="1803">
                  <a:moveTo>
                    <a:pt x="1487" y="1467"/>
                  </a:moveTo>
                  <a:cubicBezTo>
                    <a:pt x="1152" y="1635"/>
                    <a:pt x="691" y="1572"/>
                    <a:pt x="398" y="1320"/>
                  </a:cubicBezTo>
                  <a:cubicBezTo>
                    <a:pt x="147" y="1530"/>
                    <a:pt x="147" y="1530"/>
                    <a:pt x="147" y="1530"/>
                  </a:cubicBezTo>
                  <a:cubicBezTo>
                    <a:pt x="147" y="1761"/>
                    <a:pt x="147" y="1761"/>
                    <a:pt x="147" y="1761"/>
                  </a:cubicBezTo>
                  <a:cubicBezTo>
                    <a:pt x="1424" y="1761"/>
                    <a:pt x="1424" y="1761"/>
                    <a:pt x="1424" y="1761"/>
                  </a:cubicBezTo>
                  <a:cubicBezTo>
                    <a:pt x="1424" y="1803"/>
                    <a:pt x="1424" y="1803"/>
                    <a:pt x="1424" y="1803"/>
                  </a:cubicBezTo>
                  <a:cubicBezTo>
                    <a:pt x="105" y="1803"/>
                    <a:pt x="105" y="1803"/>
                    <a:pt x="105" y="1803"/>
                  </a:cubicBezTo>
                  <a:cubicBezTo>
                    <a:pt x="105" y="1488"/>
                    <a:pt x="105" y="1488"/>
                    <a:pt x="105" y="1488"/>
                  </a:cubicBezTo>
                  <a:cubicBezTo>
                    <a:pt x="356" y="1279"/>
                    <a:pt x="356" y="1279"/>
                    <a:pt x="356" y="1279"/>
                  </a:cubicBezTo>
                  <a:cubicBezTo>
                    <a:pt x="335" y="1258"/>
                    <a:pt x="314" y="1237"/>
                    <a:pt x="314" y="1216"/>
                  </a:cubicBezTo>
                  <a:cubicBezTo>
                    <a:pt x="0" y="859"/>
                    <a:pt x="0" y="356"/>
                    <a:pt x="252" y="0"/>
                  </a:cubicBezTo>
                  <a:cubicBezTo>
                    <a:pt x="587" y="398"/>
                    <a:pt x="587" y="398"/>
                    <a:pt x="587" y="398"/>
                  </a:cubicBezTo>
                  <a:cubicBezTo>
                    <a:pt x="1215" y="419"/>
                    <a:pt x="1215" y="419"/>
                    <a:pt x="1215" y="419"/>
                  </a:cubicBezTo>
                  <a:cubicBezTo>
                    <a:pt x="1256" y="377"/>
                    <a:pt x="1256" y="377"/>
                    <a:pt x="1256" y="377"/>
                  </a:cubicBezTo>
                  <a:cubicBezTo>
                    <a:pt x="1256" y="356"/>
                    <a:pt x="1277" y="335"/>
                    <a:pt x="1277" y="335"/>
                  </a:cubicBezTo>
                  <a:cubicBezTo>
                    <a:pt x="1298" y="314"/>
                    <a:pt x="1319" y="314"/>
                    <a:pt x="1319" y="314"/>
                  </a:cubicBezTo>
                  <a:cubicBezTo>
                    <a:pt x="1382" y="272"/>
                    <a:pt x="1382" y="272"/>
                    <a:pt x="1382" y="272"/>
                  </a:cubicBezTo>
                  <a:cubicBezTo>
                    <a:pt x="1382" y="251"/>
                    <a:pt x="1403" y="230"/>
                    <a:pt x="1403" y="230"/>
                  </a:cubicBezTo>
                  <a:cubicBezTo>
                    <a:pt x="1424" y="210"/>
                    <a:pt x="1445" y="210"/>
                    <a:pt x="1445" y="210"/>
                  </a:cubicBezTo>
                  <a:cubicBezTo>
                    <a:pt x="1529" y="147"/>
                    <a:pt x="1529" y="147"/>
                    <a:pt x="1529" y="147"/>
                  </a:cubicBezTo>
                  <a:cubicBezTo>
                    <a:pt x="1570" y="210"/>
                    <a:pt x="1570" y="210"/>
                    <a:pt x="1570" y="210"/>
                  </a:cubicBezTo>
                  <a:cubicBezTo>
                    <a:pt x="1508" y="272"/>
                    <a:pt x="1508" y="272"/>
                    <a:pt x="1508" y="272"/>
                  </a:cubicBezTo>
                  <a:cubicBezTo>
                    <a:pt x="1508" y="293"/>
                    <a:pt x="1487" y="314"/>
                    <a:pt x="1487" y="314"/>
                  </a:cubicBezTo>
                  <a:cubicBezTo>
                    <a:pt x="1466" y="335"/>
                    <a:pt x="1445" y="335"/>
                    <a:pt x="1445" y="335"/>
                  </a:cubicBezTo>
                  <a:cubicBezTo>
                    <a:pt x="1382" y="377"/>
                    <a:pt x="1382" y="377"/>
                    <a:pt x="1382" y="377"/>
                  </a:cubicBezTo>
                  <a:cubicBezTo>
                    <a:pt x="1382" y="398"/>
                    <a:pt x="1382" y="398"/>
                    <a:pt x="1361" y="419"/>
                  </a:cubicBezTo>
                  <a:cubicBezTo>
                    <a:pt x="1340" y="419"/>
                    <a:pt x="1340" y="440"/>
                    <a:pt x="1319" y="440"/>
                  </a:cubicBezTo>
                  <a:cubicBezTo>
                    <a:pt x="1256" y="482"/>
                    <a:pt x="1256" y="482"/>
                    <a:pt x="1256" y="482"/>
                  </a:cubicBezTo>
                  <a:cubicBezTo>
                    <a:pt x="1173" y="1090"/>
                    <a:pt x="1173" y="1090"/>
                    <a:pt x="1173" y="1090"/>
                  </a:cubicBezTo>
                  <a:cubicBezTo>
                    <a:pt x="1487" y="1467"/>
                    <a:pt x="1487" y="1467"/>
                    <a:pt x="1487" y="1467"/>
                  </a:cubicBezTo>
                  <a:close/>
                  <a:moveTo>
                    <a:pt x="1068" y="629"/>
                  </a:moveTo>
                  <a:cubicBezTo>
                    <a:pt x="1089" y="671"/>
                    <a:pt x="1068" y="692"/>
                    <a:pt x="1047" y="713"/>
                  </a:cubicBezTo>
                  <a:cubicBezTo>
                    <a:pt x="1026" y="734"/>
                    <a:pt x="984" y="734"/>
                    <a:pt x="963" y="734"/>
                  </a:cubicBezTo>
                  <a:cubicBezTo>
                    <a:pt x="901" y="775"/>
                    <a:pt x="901" y="775"/>
                    <a:pt x="901" y="775"/>
                  </a:cubicBezTo>
                  <a:cubicBezTo>
                    <a:pt x="1152" y="1048"/>
                    <a:pt x="1152" y="1048"/>
                    <a:pt x="1152" y="1048"/>
                  </a:cubicBezTo>
                  <a:cubicBezTo>
                    <a:pt x="1215" y="524"/>
                    <a:pt x="1215" y="524"/>
                    <a:pt x="1215" y="524"/>
                  </a:cubicBezTo>
                  <a:cubicBezTo>
                    <a:pt x="1068" y="629"/>
                    <a:pt x="1068" y="629"/>
                    <a:pt x="1068" y="629"/>
                  </a:cubicBezTo>
                  <a:close/>
                  <a:moveTo>
                    <a:pt x="901" y="671"/>
                  </a:moveTo>
                  <a:cubicBezTo>
                    <a:pt x="901" y="650"/>
                    <a:pt x="922" y="608"/>
                    <a:pt x="942" y="587"/>
                  </a:cubicBezTo>
                  <a:cubicBezTo>
                    <a:pt x="963" y="566"/>
                    <a:pt x="1005" y="566"/>
                    <a:pt x="1026" y="566"/>
                  </a:cubicBezTo>
                  <a:cubicBezTo>
                    <a:pt x="1152" y="461"/>
                    <a:pt x="1152" y="461"/>
                    <a:pt x="1152" y="461"/>
                  </a:cubicBezTo>
                  <a:cubicBezTo>
                    <a:pt x="628" y="440"/>
                    <a:pt x="628" y="440"/>
                    <a:pt x="628" y="440"/>
                  </a:cubicBezTo>
                  <a:cubicBezTo>
                    <a:pt x="859" y="713"/>
                    <a:pt x="859" y="713"/>
                    <a:pt x="859" y="713"/>
                  </a:cubicBezTo>
                  <a:cubicBezTo>
                    <a:pt x="901" y="671"/>
                    <a:pt x="901" y="671"/>
                    <a:pt x="901" y="671"/>
                  </a:cubicBezTo>
                  <a:cubicBezTo>
                    <a:pt x="901" y="671"/>
                    <a:pt x="901" y="671"/>
                    <a:pt x="901" y="6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45" name="Group 11"/>
          <p:cNvGrpSpPr/>
          <p:nvPr/>
        </p:nvGrpSpPr>
        <p:grpSpPr>
          <a:xfrm>
            <a:off x="4091962" y="3938483"/>
            <a:ext cx="3766501" cy="2689274"/>
            <a:chOff x="4174013" y="4016961"/>
            <a:chExt cx="3842027" cy="2743200"/>
          </a:xfrm>
        </p:grpSpPr>
        <p:sp>
          <p:nvSpPr>
            <p:cNvPr id="46" name="Rectangle 97"/>
            <p:cNvSpPr/>
            <p:nvPr/>
          </p:nvSpPr>
          <p:spPr bwMode="auto">
            <a:xfrm>
              <a:off x="4174013" y="4016961"/>
              <a:ext cx="3842027" cy="2743200"/>
            </a:xfrm>
            <a:prstGeom prst="rect">
              <a:avLst/>
            </a:prstGeom>
            <a:solidFill>
              <a:srgbClr val="00188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tilities, oil, and gas</a:t>
              </a:r>
            </a:p>
          </p:txBody>
        </p:sp>
        <p:sp>
          <p:nvSpPr>
            <p:cNvPr id="47" name="Rectangle 22"/>
            <p:cNvSpPr/>
            <p:nvPr/>
          </p:nvSpPr>
          <p:spPr>
            <a:xfrm>
              <a:off x="4174013" y="4428684"/>
              <a:ext cx="3840480" cy="1485022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Smart meter stream analysis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Slow oil well decline curves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Optimize lease bidding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Compliance reporting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Proactive equipment repair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Seismic image processing</a:t>
              </a:r>
            </a:p>
          </p:txBody>
        </p:sp>
        <p:sp>
          <p:nvSpPr>
            <p:cNvPr id="48" name="Freeform 17"/>
            <p:cNvSpPr>
              <a:spLocks noEditPoints="1"/>
            </p:cNvSpPr>
            <p:nvPr/>
          </p:nvSpPr>
          <p:spPr bwMode="auto">
            <a:xfrm>
              <a:off x="6908597" y="5789778"/>
              <a:ext cx="911745" cy="901573"/>
            </a:xfrm>
            <a:custGeom>
              <a:avLst/>
              <a:gdLst>
                <a:gd name="T0" fmla="*/ 910 w 1856"/>
                <a:gd name="T1" fmla="*/ 1264 h 1836"/>
                <a:gd name="T2" fmla="*/ 819 w 1856"/>
                <a:gd name="T3" fmla="*/ 1493 h 1836"/>
                <a:gd name="T4" fmla="*/ 723 w 1856"/>
                <a:gd name="T5" fmla="*/ 1721 h 1836"/>
                <a:gd name="T6" fmla="*/ 295 w 1856"/>
                <a:gd name="T7" fmla="*/ 1782 h 1836"/>
                <a:gd name="T8" fmla="*/ 295 w 1856"/>
                <a:gd name="T9" fmla="*/ 1739 h 1836"/>
                <a:gd name="T10" fmla="*/ 536 w 1856"/>
                <a:gd name="T11" fmla="*/ 1595 h 1836"/>
                <a:gd name="T12" fmla="*/ 482 w 1856"/>
                <a:gd name="T13" fmla="*/ 1390 h 1836"/>
                <a:gd name="T14" fmla="*/ 392 w 1856"/>
                <a:gd name="T15" fmla="*/ 1360 h 1836"/>
                <a:gd name="T16" fmla="*/ 126 w 1856"/>
                <a:gd name="T17" fmla="*/ 1499 h 1836"/>
                <a:gd name="T18" fmla="*/ 235 w 1856"/>
                <a:gd name="T19" fmla="*/ 1216 h 1836"/>
                <a:gd name="T20" fmla="*/ 452 w 1856"/>
                <a:gd name="T21" fmla="*/ 1119 h 1836"/>
                <a:gd name="T22" fmla="*/ 464 w 1856"/>
                <a:gd name="T23" fmla="*/ 1119 h 1836"/>
                <a:gd name="T24" fmla="*/ 639 w 1856"/>
                <a:gd name="T25" fmla="*/ 1071 h 1836"/>
                <a:gd name="T26" fmla="*/ 681 w 1856"/>
                <a:gd name="T27" fmla="*/ 1035 h 1836"/>
                <a:gd name="T28" fmla="*/ 976 w 1856"/>
                <a:gd name="T29" fmla="*/ 734 h 1836"/>
                <a:gd name="T30" fmla="*/ 795 w 1856"/>
                <a:gd name="T31" fmla="*/ 566 h 1836"/>
                <a:gd name="T32" fmla="*/ 572 w 1856"/>
                <a:gd name="T33" fmla="*/ 776 h 1836"/>
                <a:gd name="T34" fmla="*/ 741 w 1856"/>
                <a:gd name="T35" fmla="*/ 975 h 1836"/>
                <a:gd name="T36" fmla="*/ 1579 w 1856"/>
                <a:gd name="T37" fmla="*/ 1818 h 1836"/>
                <a:gd name="T38" fmla="*/ 1820 w 1856"/>
                <a:gd name="T39" fmla="*/ 1613 h 1836"/>
                <a:gd name="T40" fmla="*/ 1820 w 1856"/>
                <a:gd name="T41" fmla="*/ 1577 h 1836"/>
                <a:gd name="T42" fmla="*/ 1211 w 1856"/>
                <a:gd name="T43" fmla="*/ 969 h 1836"/>
                <a:gd name="T44" fmla="*/ 1814 w 1856"/>
                <a:gd name="T45" fmla="*/ 421 h 1836"/>
                <a:gd name="T46" fmla="*/ 1573 w 1856"/>
                <a:gd name="T47" fmla="*/ 560 h 1836"/>
                <a:gd name="T48" fmla="*/ 1446 w 1856"/>
                <a:gd name="T49" fmla="*/ 475 h 1836"/>
                <a:gd name="T50" fmla="*/ 1440 w 1856"/>
                <a:gd name="T51" fmla="*/ 319 h 1836"/>
                <a:gd name="T52" fmla="*/ 1687 w 1856"/>
                <a:gd name="T53" fmla="*/ 156 h 1836"/>
                <a:gd name="T54" fmla="*/ 1308 w 1856"/>
                <a:gd name="T55" fmla="*/ 150 h 1836"/>
                <a:gd name="T56" fmla="*/ 1151 w 1856"/>
                <a:gd name="T57" fmla="*/ 427 h 1836"/>
                <a:gd name="T58" fmla="*/ 1097 w 1856"/>
                <a:gd name="T59" fmla="*/ 614 h 1836"/>
                <a:gd name="T60" fmla="*/ 1266 w 1856"/>
                <a:gd name="T61" fmla="*/ 909 h 1836"/>
                <a:gd name="T62" fmla="*/ 1501 w 1856"/>
                <a:gd name="T63" fmla="*/ 800 h 1836"/>
                <a:gd name="T64" fmla="*/ 1519 w 1856"/>
                <a:gd name="T65" fmla="*/ 800 h 1836"/>
                <a:gd name="T66" fmla="*/ 1663 w 1856"/>
                <a:gd name="T67" fmla="*/ 758 h 1836"/>
                <a:gd name="T68" fmla="*/ 1856 w 1856"/>
                <a:gd name="T69" fmla="*/ 451 h 1836"/>
                <a:gd name="T70" fmla="*/ 313 w 1856"/>
                <a:gd name="T71" fmla="*/ 879 h 1836"/>
                <a:gd name="T72" fmla="*/ 862 w 1856"/>
                <a:gd name="T73" fmla="*/ 349 h 1836"/>
                <a:gd name="T74" fmla="*/ 862 w 1856"/>
                <a:gd name="T75" fmla="*/ 271 h 1836"/>
                <a:gd name="T76" fmla="*/ 566 w 1856"/>
                <a:gd name="T77" fmla="*/ 0 h 1836"/>
                <a:gd name="T78" fmla="*/ 12 w 1856"/>
                <a:gd name="T79" fmla="*/ 524 h 1836"/>
                <a:gd name="T80" fmla="*/ 12 w 1856"/>
                <a:gd name="T81" fmla="*/ 602 h 1836"/>
                <a:gd name="T82" fmla="*/ 313 w 1856"/>
                <a:gd name="T83" fmla="*/ 879 h 1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56" h="1836">
                  <a:moveTo>
                    <a:pt x="681" y="1035"/>
                  </a:moveTo>
                  <a:cubicBezTo>
                    <a:pt x="910" y="1264"/>
                    <a:pt x="910" y="1264"/>
                    <a:pt x="910" y="1264"/>
                  </a:cubicBezTo>
                  <a:cubicBezTo>
                    <a:pt x="868" y="1306"/>
                    <a:pt x="868" y="1306"/>
                    <a:pt x="868" y="1306"/>
                  </a:cubicBezTo>
                  <a:cubicBezTo>
                    <a:pt x="825" y="1348"/>
                    <a:pt x="819" y="1420"/>
                    <a:pt x="819" y="1493"/>
                  </a:cubicBezTo>
                  <a:cubicBezTo>
                    <a:pt x="819" y="1493"/>
                    <a:pt x="819" y="1493"/>
                    <a:pt x="819" y="1493"/>
                  </a:cubicBezTo>
                  <a:cubicBezTo>
                    <a:pt x="819" y="1577"/>
                    <a:pt x="783" y="1661"/>
                    <a:pt x="723" y="1721"/>
                  </a:cubicBezTo>
                  <a:cubicBezTo>
                    <a:pt x="705" y="1739"/>
                    <a:pt x="687" y="1758"/>
                    <a:pt x="657" y="1776"/>
                  </a:cubicBezTo>
                  <a:cubicBezTo>
                    <a:pt x="554" y="1836"/>
                    <a:pt x="410" y="1836"/>
                    <a:pt x="295" y="1782"/>
                  </a:cubicBezTo>
                  <a:cubicBezTo>
                    <a:pt x="289" y="1782"/>
                    <a:pt x="283" y="1770"/>
                    <a:pt x="283" y="1764"/>
                  </a:cubicBezTo>
                  <a:cubicBezTo>
                    <a:pt x="277" y="1751"/>
                    <a:pt x="283" y="1739"/>
                    <a:pt x="295" y="1739"/>
                  </a:cubicBezTo>
                  <a:cubicBezTo>
                    <a:pt x="530" y="1601"/>
                    <a:pt x="530" y="1601"/>
                    <a:pt x="530" y="1601"/>
                  </a:cubicBezTo>
                  <a:cubicBezTo>
                    <a:pt x="530" y="1601"/>
                    <a:pt x="536" y="1601"/>
                    <a:pt x="536" y="1595"/>
                  </a:cubicBezTo>
                  <a:cubicBezTo>
                    <a:pt x="554" y="1577"/>
                    <a:pt x="578" y="1547"/>
                    <a:pt x="524" y="1445"/>
                  </a:cubicBezTo>
                  <a:cubicBezTo>
                    <a:pt x="512" y="1420"/>
                    <a:pt x="494" y="1402"/>
                    <a:pt x="482" y="1390"/>
                  </a:cubicBezTo>
                  <a:cubicBezTo>
                    <a:pt x="440" y="1348"/>
                    <a:pt x="410" y="1354"/>
                    <a:pt x="398" y="1360"/>
                  </a:cubicBezTo>
                  <a:cubicBezTo>
                    <a:pt x="392" y="1360"/>
                    <a:pt x="392" y="1360"/>
                    <a:pt x="392" y="1360"/>
                  </a:cubicBezTo>
                  <a:cubicBezTo>
                    <a:pt x="156" y="1499"/>
                    <a:pt x="156" y="1499"/>
                    <a:pt x="156" y="1499"/>
                  </a:cubicBezTo>
                  <a:cubicBezTo>
                    <a:pt x="144" y="1499"/>
                    <a:pt x="132" y="1499"/>
                    <a:pt x="126" y="1499"/>
                  </a:cubicBezTo>
                  <a:cubicBezTo>
                    <a:pt x="120" y="1493"/>
                    <a:pt x="114" y="1481"/>
                    <a:pt x="114" y="1469"/>
                  </a:cubicBezTo>
                  <a:cubicBezTo>
                    <a:pt x="120" y="1378"/>
                    <a:pt x="168" y="1288"/>
                    <a:pt x="235" y="1216"/>
                  </a:cubicBezTo>
                  <a:cubicBezTo>
                    <a:pt x="253" y="1198"/>
                    <a:pt x="283" y="1180"/>
                    <a:pt x="307" y="1162"/>
                  </a:cubicBezTo>
                  <a:cubicBezTo>
                    <a:pt x="349" y="1137"/>
                    <a:pt x="398" y="1125"/>
                    <a:pt x="452" y="1119"/>
                  </a:cubicBezTo>
                  <a:cubicBezTo>
                    <a:pt x="446" y="1119"/>
                    <a:pt x="446" y="1119"/>
                    <a:pt x="446" y="1119"/>
                  </a:cubicBezTo>
                  <a:cubicBezTo>
                    <a:pt x="452" y="1119"/>
                    <a:pt x="458" y="1119"/>
                    <a:pt x="464" y="1119"/>
                  </a:cubicBezTo>
                  <a:cubicBezTo>
                    <a:pt x="464" y="1119"/>
                    <a:pt x="464" y="1119"/>
                    <a:pt x="470" y="1119"/>
                  </a:cubicBezTo>
                  <a:cubicBezTo>
                    <a:pt x="536" y="1119"/>
                    <a:pt x="602" y="1113"/>
                    <a:pt x="639" y="1071"/>
                  </a:cubicBezTo>
                  <a:cubicBezTo>
                    <a:pt x="681" y="1035"/>
                    <a:pt x="681" y="1035"/>
                    <a:pt x="681" y="1035"/>
                  </a:cubicBezTo>
                  <a:cubicBezTo>
                    <a:pt x="681" y="1035"/>
                    <a:pt x="681" y="1035"/>
                    <a:pt x="681" y="1035"/>
                  </a:cubicBezTo>
                  <a:close/>
                  <a:moveTo>
                    <a:pt x="1211" y="969"/>
                  </a:moveTo>
                  <a:cubicBezTo>
                    <a:pt x="976" y="734"/>
                    <a:pt x="976" y="734"/>
                    <a:pt x="976" y="734"/>
                  </a:cubicBezTo>
                  <a:cubicBezTo>
                    <a:pt x="813" y="572"/>
                    <a:pt x="813" y="572"/>
                    <a:pt x="813" y="572"/>
                  </a:cubicBezTo>
                  <a:cubicBezTo>
                    <a:pt x="807" y="566"/>
                    <a:pt x="801" y="566"/>
                    <a:pt x="795" y="566"/>
                  </a:cubicBezTo>
                  <a:cubicBezTo>
                    <a:pt x="789" y="566"/>
                    <a:pt x="783" y="566"/>
                    <a:pt x="777" y="572"/>
                  </a:cubicBezTo>
                  <a:cubicBezTo>
                    <a:pt x="572" y="776"/>
                    <a:pt x="572" y="776"/>
                    <a:pt x="572" y="776"/>
                  </a:cubicBezTo>
                  <a:cubicBezTo>
                    <a:pt x="566" y="782"/>
                    <a:pt x="566" y="800"/>
                    <a:pt x="572" y="812"/>
                  </a:cubicBezTo>
                  <a:cubicBezTo>
                    <a:pt x="741" y="975"/>
                    <a:pt x="741" y="975"/>
                    <a:pt x="741" y="975"/>
                  </a:cubicBezTo>
                  <a:cubicBezTo>
                    <a:pt x="970" y="1204"/>
                    <a:pt x="970" y="1204"/>
                    <a:pt x="970" y="1204"/>
                  </a:cubicBezTo>
                  <a:cubicBezTo>
                    <a:pt x="1579" y="1818"/>
                    <a:pt x="1579" y="1818"/>
                    <a:pt x="1579" y="1818"/>
                  </a:cubicBezTo>
                  <a:cubicBezTo>
                    <a:pt x="1591" y="1824"/>
                    <a:pt x="1603" y="1824"/>
                    <a:pt x="1615" y="1818"/>
                  </a:cubicBezTo>
                  <a:cubicBezTo>
                    <a:pt x="1820" y="1613"/>
                    <a:pt x="1820" y="1613"/>
                    <a:pt x="1820" y="1613"/>
                  </a:cubicBezTo>
                  <a:cubicBezTo>
                    <a:pt x="1826" y="1607"/>
                    <a:pt x="1826" y="1601"/>
                    <a:pt x="1826" y="1595"/>
                  </a:cubicBezTo>
                  <a:cubicBezTo>
                    <a:pt x="1826" y="1589"/>
                    <a:pt x="1826" y="1583"/>
                    <a:pt x="1820" y="1577"/>
                  </a:cubicBezTo>
                  <a:cubicBezTo>
                    <a:pt x="1211" y="969"/>
                    <a:pt x="1211" y="969"/>
                    <a:pt x="1211" y="969"/>
                  </a:cubicBezTo>
                  <a:cubicBezTo>
                    <a:pt x="1211" y="969"/>
                    <a:pt x="1211" y="969"/>
                    <a:pt x="1211" y="969"/>
                  </a:cubicBezTo>
                  <a:close/>
                  <a:moveTo>
                    <a:pt x="1844" y="421"/>
                  </a:moveTo>
                  <a:cubicBezTo>
                    <a:pt x="1832" y="421"/>
                    <a:pt x="1826" y="421"/>
                    <a:pt x="1814" y="421"/>
                  </a:cubicBezTo>
                  <a:cubicBezTo>
                    <a:pt x="1579" y="560"/>
                    <a:pt x="1579" y="560"/>
                    <a:pt x="1579" y="560"/>
                  </a:cubicBezTo>
                  <a:cubicBezTo>
                    <a:pt x="1579" y="560"/>
                    <a:pt x="1579" y="560"/>
                    <a:pt x="1573" y="560"/>
                  </a:cubicBezTo>
                  <a:cubicBezTo>
                    <a:pt x="1561" y="566"/>
                    <a:pt x="1531" y="572"/>
                    <a:pt x="1488" y="530"/>
                  </a:cubicBezTo>
                  <a:cubicBezTo>
                    <a:pt x="1470" y="517"/>
                    <a:pt x="1458" y="499"/>
                    <a:pt x="1446" y="475"/>
                  </a:cubicBezTo>
                  <a:cubicBezTo>
                    <a:pt x="1386" y="373"/>
                    <a:pt x="1416" y="343"/>
                    <a:pt x="1428" y="325"/>
                  </a:cubicBezTo>
                  <a:cubicBezTo>
                    <a:pt x="1434" y="319"/>
                    <a:pt x="1440" y="319"/>
                    <a:pt x="1440" y="319"/>
                  </a:cubicBezTo>
                  <a:cubicBezTo>
                    <a:pt x="1675" y="180"/>
                    <a:pt x="1675" y="180"/>
                    <a:pt x="1675" y="180"/>
                  </a:cubicBezTo>
                  <a:cubicBezTo>
                    <a:pt x="1687" y="180"/>
                    <a:pt x="1687" y="168"/>
                    <a:pt x="1687" y="156"/>
                  </a:cubicBezTo>
                  <a:cubicBezTo>
                    <a:pt x="1687" y="150"/>
                    <a:pt x="1681" y="138"/>
                    <a:pt x="1675" y="138"/>
                  </a:cubicBezTo>
                  <a:cubicBezTo>
                    <a:pt x="1561" y="84"/>
                    <a:pt x="1416" y="84"/>
                    <a:pt x="1308" y="150"/>
                  </a:cubicBezTo>
                  <a:cubicBezTo>
                    <a:pt x="1284" y="162"/>
                    <a:pt x="1266" y="180"/>
                    <a:pt x="1241" y="198"/>
                  </a:cubicBezTo>
                  <a:cubicBezTo>
                    <a:pt x="1181" y="259"/>
                    <a:pt x="1151" y="343"/>
                    <a:pt x="1151" y="427"/>
                  </a:cubicBezTo>
                  <a:cubicBezTo>
                    <a:pt x="1145" y="427"/>
                    <a:pt x="1145" y="427"/>
                    <a:pt x="1145" y="427"/>
                  </a:cubicBezTo>
                  <a:cubicBezTo>
                    <a:pt x="1151" y="499"/>
                    <a:pt x="1145" y="572"/>
                    <a:pt x="1097" y="614"/>
                  </a:cubicBezTo>
                  <a:cubicBezTo>
                    <a:pt x="1036" y="680"/>
                    <a:pt x="1036" y="680"/>
                    <a:pt x="1036" y="680"/>
                  </a:cubicBezTo>
                  <a:cubicBezTo>
                    <a:pt x="1266" y="909"/>
                    <a:pt x="1266" y="909"/>
                    <a:pt x="1266" y="909"/>
                  </a:cubicBezTo>
                  <a:cubicBezTo>
                    <a:pt x="1332" y="849"/>
                    <a:pt x="1332" y="849"/>
                    <a:pt x="1332" y="849"/>
                  </a:cubicBezTo>
                  <a:cubicBezTo>
                    <a:pt x="1368" y="806"/>
                    <a:pt x="1434" y="800"/>
                    <a:pt x="1501" y="800"/>
                  </a:cubicBezTo>
                  <a:cubicBezTo>
                    <a:pt x="1507" y="800"/>
                    <a:pt x="1507" y="800"/>
                    <a:pt x="1507" y="800"/>
                  </a:cubicBezTo>
                  <a:cubicBezTo>
                    <a:pt x="1513" y="800"/>
                    <a:pt x="1519" y="800"/>
                    <a:pt x="1519" y="800"/>
                  </a:cubicBezTo>
                  <a:cubicBezTo>
                    <a:pt x="1519" y="800"/>
                    <a:pt x="1519" y="800"/>
                    <a:pt x="1519" y="800"/>
                  </a:cubicBezTo>
                  <a:cubicBezTo>
                    <a:pt x="1567" y="794"/>
                    <a:pt x="1615" y="782"/>
                    <a:pt x="1663" y="758"/>
                  </a:cubicBezTo>
                  <a:cubicBezTo>
                    <a:pt x="1687" y="740"/>
                    <a:pt x="1712" y="722"/>
                    <a:pt x="1736" y="704"/>
                  </a:cubicBezTo>
                  <a:cubicBezTo>
                    <a:pt x="1802" y="638"/>
                    <a:pt x="1844" y="542"/>
                    <a:pt x="1856" y="451"/>
                  </a:cubicBezTo>
                  <a:cubicBezTo>
                    <a:pt x="1856" y="439"/>
                    <a:pt x="1850" y="427"/>
                    <a:pt x="1844" y="421"/>
                  </a:cubicBezTo>
                  <a:close/>
                  <a:moveTo>
                    <a:pt x="313" y="879"/>
                  </a:moveTo>
                  <a:cubicBezTo>
                    <a:pt x="325" y="879"/>
                    <a:pt x="343" y="873"/>
                    <a:pt x="349" y="861"/>
                  </a:cubicBezTo>
                  <a:cubicBezTo>
                    <a:pt x="862" y="349"/>
                    <a:pt x="862" y="349"/>
                    <a:pt x="862" y="349"/>
                  </a:cubicBezTo>
                  <a:cubicBezTo>
                    <a:pt x="874" y="343"/>
                    <a:pt x="880" y="325"/>
                    <a:pt x="880" y="313"/>
                  </a:cubicBezTo>
                  <a:cubicBezTo>
                    <a:pt x="880" y="295"/>
                    <a:pt x="874" y="283"/>
                    <a:pt x="862" y="271"/>
                  </a:cubicBezTo>
                  <a:cubicBezTo>
                    <a:pt x="602" y="12"/>
                    <a:pt x="602" y="12"/>
                    <a:pt x="602" y="12"/>
                  </a:cubicBezTo>
                  <a:cubicBezTo>
                    <a:pt x="590" y="6"/>
                    <a:pt x="578" y="0"/>
                    <a:pt x="566" y="0"/>
                  </a:cubicBezTo>
                  <a:cubicBezTo>
                    <a:pt x="548" y="0"/>
                    <a:pt x="536" y="6"/>
                    <a:pt x="524" y="12"/>
                  </a:cubicBezTo>
                  <a:cubicBezTo>
                    <a:pt x="12" y="524"/>
                    <a:pt x="12" y="524"/>
                    <a:pt x="12" y="524"/>
                  </a:cubicBezTo>
                  <a:cubicBezTo>
                    <a:pt x="6" y="535"/>
                    <a:pt x="0" y="548"/>
                    <a:pt x="0" y="560"/>
                  </a:cubicBezTo>
                  <a:cubicBezTo>
                    <a:pt x="0" y="578"/>
                    <a:pt x="6" y="590"/>
                    <a:pt x="12" y="602"/>
                  </a:cubicBezTo>
                  <a:cubicBezTo>
                    <a:pt x="277" y="861"/>
                    <a:pt x="277" y="861"/>
                    <a:pt x="277" y="861"/>
                  </a:cubicBezTo>
                  <a:cubicBezTo>
                    <a:pt x="283" y="873"/>
                    <a:pt x="301" y="879"/>
                    <a:pt x="313" y="8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49" name="Group 12"/>
          <p:cNvGrpSpPr/>
          <p:nvPr/>
        </p:nvGrpSpPr>
        <p:grpSpPr>
          <a:xfrm>
            <a:off x="7901080" y="3938483"/>
            <a:ext cx="3629083" cy="2689274"/>
            <a:chOff x="8059512" y="4016961"/>
            <a:chExt cx="3701854" cy="2743200"/>
          </a:xfrm>
        </p:grpSpPr>
        <p:sp>
          <p:nvSpPr>
            <p:cNvPr id="50" name="Rectangle 96"/>
            <p:cNvSpPr/>
            <p:nvPr/>
          </p:nvSpPr>
          <p:spPr bwMode="auto">
            <a:xfrm>
              <a:off x="8059512" y="4016961"/>
              <a:ext cx="3701854" cy="2743200"/>
            </a:xfrm>
            <a:prstGeom prst="rect">
              <a:avLst/>
            </a:prstGeom>
            <a:solidFill>
              <a:srgbClr val="00188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ublic sector</a:t>
              </a:r>
            </a:p>
          </p:txBody>
        </p:sp>
        <p:sp>
          <p:nvSpPr>
            <p:cNvPr id="51" name="Rectangle 23"/>
            <p:cNvSpPr/>
            <p:nvPr/>
          </p:nvSpPr>
          <p:spPr>
            <a:xfrm>
              <a:off x="8059512" y="4428684"/>
              <a:ext cx="3701854" cy="1446550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Analyze public sentiment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Protect critical networks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Prevent fraud and waste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Crowd source reporting for repairs </a:t>
              </a:r>
              <a:b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</a:b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to infrastructure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Fulfill open records requests</a:t>
              </a:r>
            </a:p>
          </p:txBody>
        </p:sp>
        <p:sp>
          <p:nvSpPr>
            <p:cNvPr id="52" name="Freeform 21"/>
            <p:cNvSpPr>
              <a:spLocks noEditPoints="1"/>
            </p:cNvSpPr>
            <p:nvPr/>
          </p:nvSpPr>
          <p:spPr bwMode="auto">
            <a:xfrm>
              <a:off x="10342469" y="5803773"/>
              <a:ext cx="1235970" cy="893890"/>
            </a:xfrm>
            <a:custGeom>
              <a:avLst/>
              <a:gdLst>
                <a:gd name="T0" fmla="*/ 1154 w 2168"/>
                <a:gd name="T1" fmla="*/ 520 h 1567"/>
                <a:gd name="T2" fmla="*/ 773 w 2168"/>
                <a:gd name="T3" fmla="*/ 922 h 1567"/>
                <a:gd name="T4" fmla="*/ 391 w 2168"/>
                <a:gd name="T5" fmla="*/ 520 h 1567"/>
                <a:gd name="T6" fmla="*/ 773 w 2168"/>
                <a:gd name="T7" fmla="*/ 119 h 1567"/>
                <a:gd name="T8" fmla="*/ 1154 w 2168"/>
                <a:gd name="T9" fmla="*/ 520 h 1567"/>
                <a:gd name="T10" fmla="*/ 32 w 2168"/>
                <a:gd name="T11" fmla="*/ 1567 h 1567"/>
                <a:gd name="T12" fmla="*/ 1344 w 2168"/>
                <a:gd name="T13" fmla="*/ 1567 h 1567"/>
                <a:gd name="T14" fmla="*/ 1060 w 2168"/>
                <a:gd name="T15" fmla="*/ 984 h 1567"/>
                <a:gd name="T16" fmla="*/ 773 w 2168"/>
                <a:gd name="T17" fmla="*/ 1136 h 1567"/>
                <a:gd name="T18" fmla="*/ 430 w 2168"/>
                <a:gd name="T19" fmla="*/ 974 h 1567"/>
                <a:gd name="T20" fmla="*/ 102 w 2168"/>
                <a:gd name="T21" fmla="*/ 1133 h 1567"/>
                <a:gd name="T22" fmla="*/ 32 w 2168"/>
                <a:gd name="T23" fmla="*/ 1567 h 1567"/>
                <a:gd name="T24" fmla="*/ 1589 w 2168"/>
                <a:gd name="T25" fmla="*/ 0 h 1567"/>
                <a:gd name="T26" fmla="*/ 1252 w 2168"/>
                <a:gd name="T27" fmla="*/ 371 h 1567"/>
                <a:gd name="T28" fmla="*/ 1589 w 2168"/>
                <a:gd name="T29" fmla="*/ 741 h 1567"/>
                <a:gd name="T30" fmla="*/ 1928 w 2168"/>
                <a:gd name="T31" fmla="*/ 371 h 1567"/>
                <a:gd name="T32" fmla="*/ 1589 w 2168"/>
                <a:gd name="T33" fmla="*/ 0 h 1567"/>
                <a:gd name="T34" fmla="*/ 1435 w 2168"/>
                <a:gd name="T35" fmla="*/ 1356 h 1567"/>
                <a:gd name="T36" fmla="*/ 2168 w 2168"/>
                <a:gd name="T37" fmla="*/ 1356 h 1567"/>
                <a:gd name="T38" fmla="*/ 2067 w 2168"/>
                <a:gd name="T39" fmla="*/ 906 h 1567"/>
                <a:gd name="T40" fmla="*/ 1878 w 2168"/>
                <a:gd name="T41" fmla="*/ 795 h 1567"/>
                <a:gd name="T42" fmla="*/ 1649 w 2168"/>
                <a:gd name="T43" fmla="*/ 922 h 1567"/>
                <a:gd name="T44" fmla="*/ 1504 w 2168"/>
                <a:gd name="T45" fmla="*/ 951 h 1567"/>
                <a:gd name="T46" fmla="*/ 1327 w 2168"/>
                <a:gd name="T47" fmla="*/ 830 h 1567"/>
                <a:gd name="T48" fmla="*/ 1154 w 2168"/>
                <a:gd name="T49" fmla="*/ 900 h 1567"/>
                <a:gd name="T50" fmla="*/ 1435 w 2168"/>
                <a:gd name="T51" fmla="*/ 1356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68" h="1567">
                  <a:moveTo>
                    <a:pt x="1154" y="520"/>
                  </a:moveTo>
                  <a:cubicBezTo>
                    <a:pt x="1154" y="741"/>
                    <a:pt x="984" y="922"/>
                    <a:pt x="773" y="922"/>
                  </a:cubicBezTo>
                  <a:cubicBezTo>
                    <a:pt x="562" y="922"/>
                    <a:pt x="391" y="741"/>
                    <a:pt x="391" y="520"/>
                  </a:cubicBezTo>
                  <a:cubicBezTo>
                    <a:pt x="391" y="299"/>
                    <a:pt x="562" y="119"/>
                    <a:pt x="773" y="119"/>
                  </a:cubicBezTo>
                  <a:cubicBezTo>
                    <a:pt x="984" y="119"/>
                    <a:pt x="1154" y="299"/>
                    <a:pt x="1154" y="520"/>
                  </a:cubicBezTo>
                  <a:close/>
                  <a:moveTo>
                    <a:pt x="32" y="1567"/>
                  </a:moveTo>
                  <a:cubicBezTo>
                    <a:pt x="1344" y="1567"/>
                    <a:pt x="1344" y="1567"/>
                    <a:pt x="1344" y="1567"/>
                  </a:cubicBezTo>
                  <a:cubicBezTo>
                    <a:pt x="1344" y="1567"/>
                    <a:pt x="1380" y="1016"/>
                    <a:pt x="1060" y="984"/>
                  </a:cubicBezTo>
                  <a:cubicBezTo>
                    <a:pt x="936" y="973"/>
                    <a:pt x="949" y="1168"/>
                    <a:pt x="773" y="1136"/>
                  </a:cubicBezTo>
                  <a:cubicBezTo>
                    <a:pt x="650" y="1114"/>
                    <a:pt x="614" y="986"/>
                    <a:pt x="430" y="974"/>
                  </a:cubicBezTo>
                  <a:cubicBezTo>
                    <a:pt x="313" y="965"/>
                    <a:pt x="172" y="1025"/>
                    <a:pt x="102" y="1133"/>
                  </a:cubicBezTo>
                  <a:cubicBezTo>
                    <a:pt x="0" y="1288"/>
                    <a:pt x="32" y="1567"/>
                    <a:pt x="32" y="1567"/>
                  </a:cubicBezTo>
                  <a:close/>
                  <a:moveTo>
                    <a:pt x="1589" y="0"/>
                  </a:moveTo>
                  <a:cubicBezTo>
                    <a:pt x="1403" y="0"/>
                    <a:pt x="1252" y="166"/>
                    <a:pt x="1252" y="371"/>
                  </a:cubicBezTo>
                  <a:cubicBezTo>
                    <a:pt x="1252" y="575"/>
                    <a:pt x="1403" y="741"/>
                    <a:pt x="1589" y="741"/>
                  </a:cubicBezTo>
                  <a:cubicBezTo>
                    <a:pt x="1777" y="741"/>
                    <a:pt x="1928" y="575"/>
                    <a:pt x="1928" y="371"/>
                  </a:cubicBezTo>
                  <a:cubicBezTo>
                    <a:pt x="1928" y="166"/>
                    <a:pt x="1777" y="0"/>
                    <a:pt x="1589" y="0"/>
                  </a:cubicBezTo>
                  <a:close/>
                  <a:moveTo>
                    <a:pt x="1435" y="1356"/>
                  </a:moveTo>
                  <a:cubicBezTo>
                    <a:pt x="2168" y="1356"/>
                    <a:pt x="2168" y="1356"/>
                    <a:pt x="2168" y="1356"/>
                  </a:cubicBezTo>
                  <a:cubicBezTo>
                    <a:pt x="2168" y="1356"/>
                    <a:pt x="2151" y="1019"/>
                    <a:pt x="2067" y="906"/>
                  </a:cubicBezTo>
                  <a:cubicBezTo>
                    <a:pt x="2000" y="815"/>
                    <a:pt x="1951" y="795"/>
                    <a:pt x="1878" y="795"/>
                  </a:cubicBezTo>
                  <a:cubicBezTo>
                    <a:pt x="1801" y="795"/>
                    <a:pt x="1705" y="879"/>
                    <a:pt x="1649" y="922"/>
                  </a:cubicBezTo>
                  <a:cubicBezTo>
                    <a:pt x="1591" y="965"/>
                    <a:pt x="1555" y="965"/>
                    <a:pt x="1504" y="951"/>
                  </a:cubicBezTo>
                  <a:cubicBezTo>
                    <a:pt x="1445" y="934"/>
                    <a:pt x="1367" y="844"/>
                    <a:pt x="1327" y="830"/>
                  </a:cubicBezTo>
                  <a:cubicBezTo>
                    <a:pt x="1298" y="819"/>
                    <a:pt x="1184" y="802"/>
                    <a:pt x="1154" y="900"/>
                  </a:cubicBezTo>
                  <a:cubicBezTo>
                    <a:pt x="1154" y="900"/>
                    <a:pt x="1435" y="1062"/>
                    <a:pt x="1435" y="13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53" name="Group 9"/>
          <p:cNvGrpSpPr/>
          <p:nvPr/>
        </p:nvGrpSpPr>
        <p:grpSpPr>
          <a:xfrm>
            <a:off x="8751245" y="1199454"/>
            <a:ext cx="2778917" cy="2689274"/>
            <a:chOff x="8926725" y="1223009"/>
            <a:chExt cx="2834640" cy="2743200"/>
          </a:xfrm>
        </p:grpSpPr>
        <p:sp>
          <p:nvSpPr>
            <p:cNvPr id="54" name="Rectangle 94"/>
            <p:cNvSpPr/>
            <p:nvPr/>
          </p:nvSpPr>
          <p:spPr bwMode="auto">
            <a:xfrm>
              <a:off x="8926725" y="1223009"/>
              <a:ext cx="2834640" cy="2743200"/>
            </a:xfrm>
            <a:prstGeom prst="rect">
              <a:avLst/>
            </a:prstGeom>
            <a:solidFill>
              <a:srgbClr val="00188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nufacturing</a:t>
              </a:r>
            </a:p>
          </p:txBody>
        </p:sp>
        <p:sp>
          <p:nvSpPr>
            <p:cNvPr id="55" name="Rectangle 29"/>
            <p:cNvSpPr/>
            <p:nvPr/>
          </p:nvSpPr>
          <p:spPr>
            <a:xfrm>
              <a:off x="8926725" y="1668599"/>
              <a:ext cx="2834640" cy="1280351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Supplier consolidation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Supply chain and logistics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Assembly line quality assurance 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Proactive maintenance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Crowd source quality assurance</a:t>
              </a:r>
            </a:p>
          </p:txBody>
        </p:sp>
        <p:sp>
          <p:nvSpPr>
            <p:cNvPr id="56" name="Freeform 25"/>
            <p:cNvSpPr>
              <a:spLocks noEditPoints="1"/>
            </p:cNvSpPr>
            <p:nvPr/>
          </p:nvSpPr>
          <p:spPr bwMode="auto">
            <a:xfrm>
              <a:off x="10756900" y="3040063"/>
              <a:ext cx="822879" cy="823219"/>
            </a:xfrm>
            <a:custGeom>
              <a:avLst/>
              <a:gdLst>
                <a:gd name="T0" fmla="*/ 0 w 4844"/>
                <a:gd name="T1" fmla="*/ 909 h 4846"/>
                <a:gd name="T2" fmla="*/ 1211 w 4844"/>
                <a:gd name="T3" fmla="*/ 909 h 4846"/>
                <a:gd name="T4" fmla="*/ 1211 w 4844"/>
                <a:gd name="T5" fmla="*/ 1212 h 4846"/>
                <a:gd name="T6" fmla="*/ 0 w 4844"/>
                <a:gd name="T7" fmla="*/ 1212 h 4846"/>
                <a:gd name="T8" fmla="*/ 0 w 4844"/>
                <a:gd name="T9" fmla="*/ 909 h 4846"/>
                <a:gd name="T10" fmla="*/ 0 w 4844"/>
                <a:gd name="T11" fmla="*/ 606 h 4846"/>
                <a:gd name="T12" fmla="*/ 1211 w 4844"/>
                <a:gd name="T13" fmla="*/ 606 h 4846"/>
                <a:gd name="T14" fmla="*/ 1211 w 4844"/>
                <a:gd name="T15" fmla="*/ 0 h 4846"/>
                <a:gd name="T16" fmla="*/ 0 w 4844"/>
                <a:gd name="T17" fmla="*/ 0 h 4846"/>
                <a:gd name="T18" fmla="*/ 0 w 4844"/>
                <a:gd name="T19" fmla="*/ 606 h 4846"/>
                <a:gd name="T20" fmla="*/ 4844 w 4844"/>
                <a:gd name="T21" fmla="*/ 1818 h 4846"/>
                <a:gd name="T22" fmla="*/ 4844 w 4844"/>
                <a:gd name="T23" fmla="*/ 4846 h 4846"/>
                <a:gd name="T24" fmla="*/ 1211 w 4844"/>
                <a:gd name="T25" fmla="*/ 4846 h 4846"/>
                <a:gd name="T26" fmla="*/ 0 w 4844"/>
                <a:gd name="T27" fmla="*/ 4846 h 4846"/>
                <a:gd name="T28" fmla="*/ 0 w 4844"/>
                <a:gd name="T29" fmla="*/ 1515 h 4846"/>
                <a:gd name="T30" fmla="*/ 1211 w 4844"/>
                <a:gd name="T31" fmla="*/ 1515 h 4846"/>
                <a:gd name="T32" fmla="*/ 1211 w 4844"/>
                <a:gd name="T33" fmla="*/ 2726 h 4846"/>
                <a:gd name="T34" fmla="*/ 2422 w 4844"/>
                <a:gd name="T35" fmla="*/ 1818 h 4846"/>
                <a:gd name="T36" fmla="*/ 2422 w 4844"/>
                <a:gd name="T37" fmla="*/ 2726 h 4846"/>
                <a:gd name="T38" fmla="*/ 3633 w 4844"/>
                <a:gd name="T39" fmla="*/ 1818 h 4846"/>
                <a:gd name="T40" fmla="*/ 3633 w 4844"/>
                <a:gd name="T41" fmla="*/ 2726 h 4846"/>
                <a:gd name="T42" fmla="*/ 4844 w 4844"/>
                <a:gd name="T43" fmla="*/ 1818 h 4846"/>
                <a:gd name="T44" fmla="*/ 2119 w 4844"/>
                <a:gd name="T45" fmla="*/ 3635 h 4846"/>
                <a:gd name="T46" fmla="*/ 1514 w 4844"/>
                <a:gd name="T47" fmla="*/ 3635 h 4846"/>
                <a:gd name="T48" fmla="*/ 1514 w 4844"/>
                <a:gd name="T49" fmla="*/ 3937 h 4846"/>
                <a:gd name="T50" fmla="*/ 2119 w 4844"/>
                <a:gd name="T51" fmla="*/ 3937 h 4846"/>
                <a:gd name="T52" fmla="*/ 2119 w 4844"/>
                <a:gd name="T53" fmla="*/ 3635 h 4846"/>
                <a:gd name="T54" fmla="*/ 2119 w 4844"/>
                <a:gd name="T55" fmla="*/ 3029 h 4846"/>
                <a:gd name="T56" fmla="*/ 1514 w 4844"/>
                <a:gd name="T57" fmla="*/ 3029 h 4846"/>
                <a:gd name="T58" fmla="*/ 1514 w 4844"/>
                <a:gd name="T59" fmla="*/ 3332 h 4846"/>
                <a:gd name="T60" fmla="*/ 2119 w 4844"/>
                <a:gd name="T61" fmla="*/ 3332 h 4846"/>
                <a:gd name="T62" fmla="*/ 2119 w 4844"/>
                <a:gd name="T63" fmla="*/ 3029 h 4846"/>
                <a:gd name="T64" fmla="*/ 3330 w 4844"/>
                <a:gd name="T65" fmla="*/ 3635 h 4846"/>
                <a:gd name="T66" fmla="*/ 2725 w 4844"/>
                <a:gd name="T67" fmla="*/ 3635 h 4846"/>
                <a:gd name="T68" fmla="*/ 2725 w 4844"/>
                <a:gd name="T69" fmla="*/ 3937 h 4846"/>
                <a:gd name="T70" fmla="*/ 3330 w 4844"/>
                <a:gd name="T71" fmla="*/ 3937 h 4846"/>
                <a:gd name="T72" fmla="*/ 3330 w 4844"/>
                <a:gd name="T73" fmla="*/ 3635 h 4846"/>
                <a:gd name="T74" fmla="*/ 3330 w 4844"/>
                <a:gd name="T75" fmla="*/ 3029 h 4846"/>
                <a:gd name="T76" fmla="*/ 2725 w 4844"/>
                <a:gd name="T77" fmla="*/ 3029 h 4846"/>
                <a:gd name="T78" fmla="*/ 2725 w 4844"/>
                <a:gd name="T79" fmla="*/ 3332 h 4846"/>
                <a:gd name="T80" fmla="*/ 3330 w 4844"/>
                <a:gd name="T81" fmla="*/ 3332 h 4846"/>
                <a:gd name="T82" fmla="*/ 3330 w 4844"/>
                <a:gd name="T83" fmla="*/ 3029 h 4846"/>
                <a:gd name="T84" fmla="*/ 4542 w 4844"/>
                <a:gd name="T85" fmla="*/ 3635 h 4846"/>
                <a:gd name="T86" fmla="*/ 3936 w 4844"/>
                <a:gd name="T87" fmla="*/ 3635 h 4846"/>
                <a:gd name="T88" fmla="*/ 3936 w 4844"/>
                <a:gd name="T89" fmla="*/ 3937 h 4846"/>
                <a:gd name="T90" fmla="*/ 4542 w 4844"/>
                <a:gd name="T91" fmla="*/ 3937 h 4846"/>
                <a:gd name="T92" fmla="*/ 4542 w 4844"/>
                <a:gd name="T93" fmla="*/ 3635 h 4846"/>
                <a:gd name="T94" fmla="*/ 4542 w 4844"/>
                <a:gd name="T95" fmla="*/ 3029 h 4846"/>
                <a:gd name="T96" fmla="*/ 3936 w 4844"/>
                <a:gd name="T97" fmla="*/ 3029 h 4846"/>
                <a:gd name="T98" fmla="*/ 3936 w 4844"/>
                <a:gd name="T99" fmla="*/ 3332 h 4846"/>
                <a:gd name="T100" fmla="*/ 4542 w 4844"/>
                <a:gd name="T101" fmla="*/ 3332 h 4846"/>
                <a:gd name="T102" fmla="*/ 4542 w 4844"/>
                <a:gd name="T103" fmla="*/ 3029 h 4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844" h="4846">
                  <a:moveTo>
                    <a:pt x="0" y="909"/>
                  </a:moveTo>
                  <a:lnTo>
                    <a:pt x="1211" y="909"/>
                  </a:lnTo>
                  <a:lnTo>
                    <a:pt x="1211" y="1212"/>
                  </a:lnTo>
                  <a:lnTo>
                    <a:pt x="0" y="1212"/>
                  </a:lnTo>
                  <a:lnTo>
                    <a:pt x="0" y="909"/>
                  </a:lnTo>
                  <a:close/>
                  <a:moveTo>
                    <a:pt x="0" y="606"/>
                  </a:moveTo>
                  <a:lnTo>
                    <a:pt x="1211" y="606"/>
                  </a:lnTo>
                  <a:lnTo>
                    <a:pt x="1211" y="0"/>
                  </a:lnTo>
                  <a:lnTo>
                    <a:pt x="0" y="0"/>
                  </a:lnTo>
                  <a:lnTo>
                    <a:pt x="0" y="606"/>
                  </a:lnTo>
                  <a:close/>
                  <a:moveTo>
                    <a:pt x="4844" y="1818"/>
                  </a:moveTo>
                  <a:lnTo>
                    <a:pt x="4844" y="4846"/>
                  </a:lnTo>
                  <a:lnTo>
                    <a:pt x="1211" y="4846"/>
                  </a:lnTo>
                  <a:lnTo>
                    <a:pt x="0" y="4846"/>
                  </a:lnTo>
                  <a:lnTo>
                    <a:pt x="0" y="1515"/>
                  </a:lnTo>
                  <a:lnTo>
                    <a:pt x="1211" y="1515"/>
                  </a:lnTo>
                  <a:lnTo>
                    <a:pt x="1211" y="2726"/>
                  </a:lnTo>
                  <a:lnTo>
                    <a:pt x="2422" y="1818"/>
                  </a:lnTo>
                  <a:lnTo>
                    <a:pt x="2422" y="2726"/>
                  </a:lnTo>
                  <a:lnTo>
                    <a:pt x="3633" y="1818"/>
                  </a:lnTo>
                  <a:lnTo>
                    <a:pt x="3633" y="2726"/>
                  </a:lnTo>
                  <a:lnTo>
                    <a:pt x="4844" y="1818"/>
                  </a:lnTo>
                  <a:close/>
                  <a:moveTo>
                    <a:pt x="2119" y="3635"/>
                  </a:moveTo>
                  <a:lnTo>
                    <a:pt x="1514" y="3635"/>
                  </a:lnTo>
                  <a:lnTo>
                    <a:pt x="1514" y="3937"/>
                  </a:lnTo>
                  <a:lnTo>
                    <a:pt x="2119" y="3937"/>
                  </a:lnTo>
                  <a:lnTo>
                    <a:pt x="2119" y="3635"/>
                  </a:lnTo>
                  <a:close/>
                  <a:moveTo>
                    <a:pt x="2119" y="3029"/>
                  </a:moveTo>
                  <a:lnTo>
                    <a:pt x="1514" y="3029"/>
                  </a:lnTo>
                  <a:lnTo>
                    <a:pt x="1514" y="3332"/>
                  </a:lnTo>
                  <a:lnTo>
                    <a:pt x="2119" y="3332"/>
                  </a:lnTo>
                  <a:lnTo>
                    <a:pt x="2119" y="3029"/>
                  </a:lnTo>
                  <a:close/>
                  <a:moveTo>
                    <a:pt x="3330" y="3635"/>
                  </a:moveTo>
                  <a:lnTo>
                    <a:pt x="2725" y="3635"/>
                  </a:lnTo>
                  <a:lnTo>
                    <a:pt x="2725" y="3937"/>
                  </a:lnTo>
                  <a:lnTo>
                    <a:pt x="3330" y="3937"/>
                  </a:lnTo>
                  <a:lnTo>
                    <a:pt x="3330" y="3635"/>
                  </a:lnTo>
                  <a:close/>
                  <a:moveTo>
                    <a:pt x="3330" y="3029"/>
                  </a:moveTo>
                  <a:lnTo>
                    <a:pt x="2725" y="3029"/>
                  </a:lnTo>
                  <a:lnTo>
                    <a:pt x="2725" y="3332"/>
                  </a:lnTo>
                  <a:lnTo>
                    <a:pt x="3330" y="3332"/>
                  </a:lnTo>
                  <a:lnTo>
                    <a:pt x="3330" y="3029"/>
                  </a:lnTo>
                  <a:close/>
                  <a:moveTo>
                    <a:pt x="4542" y="3635"/>
                  </a:moveTo>
                  <a:lnTo>
                    <a:pt x="3936" y="3635"/>
                  </a:lnTo>
                  <a:lnTo>
                    <a:pt x="3936" y="3937"/>
                  </a:lnTo>
                  <a:lnTo>
                    <a:pt x="4542" y="3937"/>
                  </a:lnTo>
                  <a:lnTo>
                    <a:pt x="4542" y="3635"/>
                  </a:lnTo>
                  <a:close/>
                  <a:moveTo>
                    <a:pt x="4542" y="3029"/>
                  </a:moveTo>
                  <a:lnTo>
                    <a:pt x="3936" y="3029"/>
                  </a:lnTo>
                  <a:lnTo>
                    <a:pt x="3936" y="3332"/>
                  </a:lnTo>
                  <a:lnTo>
                    <a:pt x="4542" y="3332"/>
                  </a:lnTo>
                  <a:lnTo>
                    <a:pt x="4542" y="30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57" name="Group 10"/>
          <p:cNvGrpSpPr/>
          <p:nvPr/>
        </p:nvGrpSpPr>
        <p:grpSpPr>
          <a:xfrm>
            <a:off x="281003" y="3938483"/>
            <a:ext cx="3764984" cy="2689274"/>
            <a:chOff x="286637" y="4016961"/>
            <a:chExt cx="3840480" cy="2743200"/>
          </a:xfrm>
        </p:grpSpPr>
        <p:sp>
          <p:nvSpPr>
            <p:cNvPr id="58" name="Rectangle 95"/>
            <p:cNvSpPr/>
            <p:nvPr/>
          </p:nvSpPr>
          <p:spPr bwMode="auto">
            <a:xfrm>
              <a:off x="286637" y="4016961"/>
              <a:ext cx="3840480" cy="2743200"/>
            </a:xfrm>
            <a:prstGeom prst="rect">
              <a:avLst/>
            </a:prstGeom>
            <a:solidFill>
              <a:srgbClr val="00188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Healthcare</a:t>
              </a:r>
            </a:p>
          </p:txBody>
        </p:sp>
        <p:sp>
          <p:nvSpPr>
            <p:cNvPr id="59" name="Rectangle 21"/>
            <p:cNvSpPr/>
            <p:nvPr/>
          </p:nvSpPr>
          <p:spPr>
            <a:xfrm>
              <a:off x="286637" y="4428684"/>
              <a:ext cx="3840480" cy="1280351"/>
            </a:xfrm>
            <a:prstGeom prst="rect">
              <a:avLst/>
            </a:prstGeom>
          </p:spPr>
          <p:txBody>
            <a:bodyPr wrap="square" lIns="179285" tIns="143428" rIns="179285" bIns="143428">
              <a:spAutoFit/>
            </a:bodyPr>
            <a:lstStyle/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Genomic data for medical trials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Monitor patient vitals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Reduce re-admittance rates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Store medical research data</a:t>
              </a:r>
            </a:p>
            <a:p>
              <a:pPr marL="0" marR="0" lvl="0" indent="0" defTabSz="448193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29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Recruit cohorts for pharmaceutical trials</a:t>
              </a:r>
            </a:p>
          </p:txBody>
        </p:sp>
        <p:sp>
          <p:nvSpPr>
            <p:cNvPr id="60" name="Freeform 29"/>
            <p:cNvSpPr>
              <a:spLocks noEditPoints="1"/>
            </p:cNvSpPr>
            <p:nvPr/>
          </p:nvSpPr>
          <p:spPr bwMode="auto">
            <a:xfrm>
              <a:off x="2972791" y="5819393"/>
              <a:ext cx="969817" cy="871958"/>
            </a:xfrm>
            <a:custGeom>
              <a:avLst/>
              <a:gdLst>
                <a:gd name="T0" fmla="*/ 847 w 2338"/>
                <a:gd name="T1" fmla="*/ 203 h 2102"/>
                <a:gd name="T2" fmla="*/ 847 w 2338"/>
                <a:gd name="T3" fmla="*/ 203 h 2102"/>
                <a:gd name="T4" fmla="*/ 847 w 2338"/>
                <a:gd name="T5" fmla="*/ 330 h 2102"/>
                <a:gd name="T6" fmla="*/ 709 w 2338"/>
                <a:gd name="T7" fmla="*/ 330 h 2102"/>
                <a:gd name="T8" fmla="*/ 709 w 2338"/>
                <a:gd name="T9" fmla="*/ 203 h 2102"/>
                <a:gd name="T10" fmla="*/ 914 w 2338"/>
                <a:gd name="T11" fmla="*/ 0 h 2102"/>
                <a:gd name="T12" fmla="*/ 1424 w 2338"/>
                <a:gd name="T13" fmla="*/ 0 h 2102"/>
                <a:gd name="T14" fmla="*/ 1630 w 2338"/>
                <a:gd name="T15" fmla="*/ 203 h 2102"/>
                <a:gd name="T16" fmla="*/ 1630 w 2338"/>
                <a:gd name="T17" fmla="*/ 330 h 2102"/>
                <a:gd name="T18" fmla="*/ 1491 w 2338"/>
                <a:gd name="T19" fmla="*/ 330 h 2102"/>
                <a:gd name="T20" fmla="*/ 1491 w 2338"/>
                <a:gd name="T21" fmla="*/ 203 h 2102"/>
                <a:gd name="T22" fmla="*/ 1424 w 2338"/>
                <a:gd name="T23" fmla="*/ 139 h 2102"/>
                <a:gd name="T24" fmla="*/ 914 w 2338"/>
                <a:gd name="T25" fmla="*/ 139 h 2102"/>
                <a:gd name="T26" fmla="*/ 847 w 2338"/>
                <a:gd name="T27" fmla="*/ 203 h 2102"/>
                <a:gd name="T28" fmla="*/ 1169 w 2338"/>
                <a:gd name="T29" fmla="*/ 772 h 2102"/>
                <a:gd name="T30" fmla="*/ 1647 w 2338"/>
                <a:gd name="T31" fmla="*/ 1248 h 2102"/>
                <a:gd name="T32" fmla="*/ 1169 w 2338"/>
                <a:gd name="T33" fmla="*/ 1724 h 2102"/>
                <a:gd name="T34" fmla="*/ 692 w 2338"/>
                <a:gd name="T35" fmla="*/ 1248 h 2102"/>
                <a:gd name="T36" fmla="*/ 1169 w 2338"/>
                <a:gd name="T37" fmla="*/ 772 h 2102"/>
                <a:gd name="T38" fmla="*/ 1481 w 2338"/>
                <a:gd name="T39" fmla="*/ 1283 h 2102"/>
                <a:gd name="T40" fmla="*/ 1481 w 2338"/>
                <a:gd name="T41" fmla="*/ 1283 h 2102"/>
                <a:gd name="T42" fmla="*/ 1481 w 2338"/>
                <a:gd name="T43" fmla="*/ 1212 h 2102"/>
                <a:gd name="T44" fmla="*/ 1420 w 2338"/>
                <a:gd name="T45" fmla="*/ 1149 h 2102"/>
                <a:gd name="T46" fmla="*/ 1268 w 2338"/>
                <a:gd name="T47" fmla="*/ 1149 h 2102"/>
                <a:gd name="T48" fmla="*/ 1268 w 2338"/>
                <a:gd name="T49" fmla="*/ 997 h 2102"/>
                <a:gd name="T50" fmla="*/ 1205 w 2338"/>
                <a:gd name="T51" fmla="*/ 937 h 2102"/>
                <a:gd name="T52" fmla="*/ 1134 w 2338"/>
                <a:gd name="T53" fmla="*/ 937 h 2102"/>
                <a:gd name="T54" fmla="*/ 1070 w 2338"/>
                <a:gd name="T55" fmla="*/ 997 h 2102"/>
                <a:gd name="T56" fmla="*/ 1070 w 2338"/>
                <a:gd name="T57" fmla="*/ 1149 h 2102"/>
                <a:gd name="T58" fmla="*/ 918 w 2338"/>
                <a:gd name="T59" fmla="*/ 1149 h 2102"/>
                <a:gd name="T60" fmla="*/ 858 w 2338"/>
                <a:gd name="T61" fmla="*/ 1212 h 2102"/>
                <a:gd name="T62" fmla="*/ 858 w 2338"/>
                <a:gd name="T63" fmla="*/ 1283 h 2102"/>
                <a:gd name="T64" fmla="*/ 918 w 2338"/>
                <a:gd name="T65" fmla="*/ 1346 h 2102"/>
                <a:gd name="T66" fmla="*/ 1070 w 2338"/>
                <a:gd name="T67" fmla="*/ 1346 h 2102"/>
                <a:gd name="T68" fmla="*/ 1070 w 2338"/>
                <a:gd name="T69" fmla="*/ 1498 h 2102"/>
                <a:gd name="T70" fmla="*/ 1134 w 2338"/>
                <a:gd name="T71" fmla="*/ 1558 h 2102"/>
                <a:gd name="T72" fmla="*/ 1205 w 2338"/>
                <a:gd name="T73" fmla="*/ 1558 h 2102"/>
                <a:gd name="T74" fmla="*/ 1268 w 2338"/>
                <a:gd name="T75" fmla="*/ 1498 h 2102"/>
                <a:gd name="T76" fmla="*/ 1268 w 2338"/>
                <a:gd name="T77" fmla="*/ 1346 h 2102"/>
                <a:gd name="T78" fmla="*/ 1420 w 2338"/>
                <a:gd name="T79" fmla="*/ 1346 h 2102"/>
                <a:gd name="T80" fmla="*/ 1481 w 2338"/>
                <a:gd name="T81" fmla="*/ 1283 h 2102"/>
                <a:gd name="T82" fmla="*/ 2045 w 2338"/>
                <a:gd name="T83" fmla="*/ 389 h 2102"/>
                <a:gd name="T84" fmla="*/ 2338 w 2338"/>
                <a:gd name="T85" fmla="*/ 683 h 2102"/>
                <a:gd name="T86" fmla="*/ 2338 w 2338"/>
                <a:gd name="T87" fmla="*/ 1808 h 2102"/>
                <a:gd name="T88" fmla="*/ 2045 w 2338"/>
                <a:gd name="T89" fmla="*/ 2102 h 2102"/>
                <a:gd name="T90" fmla="*/ 293 w 2338"/>
                <a:gd name="T91" fmla="*/ 2102 h 2102"/>
                <a:gd name="T92" fmla="*/ 0 w 2338"/>
                <a:gd name="T93" fmla="*/ 1808 h 2102"/>
                <a:gd name="T94" fmla="*/ 0 w 2338"/>
                <a:gd name="T95" fmla="*/ 683 h 2102"/>
                <a:gd name="T96" fmla="*/ 293 w 2338"/>
                <a:gd name="T97" fmla="*/ 389 h 2102"/>
                <a:gd name="T98" fmla="*/ 2045 w 2338"/>
                <a:gd name="T99" fmla="*/ 389 h 2102"/>
                <a:gd name="T100" fmla="*/ 1169 w 2338"/>
                <a:gd name="T101" fmla="*/ 1837 h 2102"/>
                <a:gd name="T102" fmla="*/ 1759 w 2338"/>
                <a:gd name="T103" fmla="*/ 1246 h 2102"/>
                <a:gd name="T104" fmla="*/ 1169 w 2338"/>
                <a:gd name="T105" fmla="*/ 655 h 2102"/>
                <a:gd name="T106" fmla="*/ 579 w 2338"/>
                <a:gd name="T107" fmla="*/ 1246 h 2102"/>
                <a:gd name="T108" fmla="*/ 1169 w 2338"/>
                <a:gd name="T109" fmla="*/ 1837 h 2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38" h="2102">
                  <a:moveTo>
                    <a:pt x="847" y="203"/>
                  </a:moveTo>
                  <a:cubicBezTo>
                    <a:pt x="847" y="203"/>
                    <a:pt x="847" y="203"/>
                    <a:pt x="847" y="203"/>
                  </a:cubicBezTo>
                  <a:cubicBezTo>
                    <a:pt x="847" y="330"/>
                    <a:pt x="847" y="330"/>
                    <a:pt x="847" y="330"/>
                  </a:cubicBezTo>
                  <a:cubicBezTo>
                    <a:pt x="847" y="330"/>
                    <a:pt x="847" y="330"/>
                    <a:pt x="709" y="330"/>
                  </a:cubicBezTo>
                  <a:cubicBezTo>
                    <a:pt x="709" y="330"/>
                    <a:pt x="709" y="330"/>
                    <a:pt x="709" y="203"/>
                  </a:cubicBezTo>
                  <a:cubicBezTo>
                    <a:pt x="709" y="93"/>
                    <a:pt x="801" y="0"/>
                    <a:pt x="914" y="0"/>
                  </a:cubicBezTo>
                  <a:cubicBezTo>
                    <a:pt x="914" y="0"/>
                    <a:pt x="914" y="0"/>
                    <a:pt x="1424" y="0"/>
                  </a:cubicBezTo>
                  <a:cubicBezTo>
                    <a:pt x="1538" y="0"/>
                    <a:pt x="1630" y="93"/>
                    <a:pt x="1630" y="203"/>
                  </a:cubicBezTo>
                  <a:cubicBezTo>
                    <a:pt x="1630" y="203"/>
                    <a:pt x="1630" y="203"/>
                    <a:pt x="1630" y="330"/>
                  </a:cubicBezTo>
                  <a:cubicBezTo>
                    <a:pt x="1630" y="330"/>
                    <a:pt x="1630" y="330"/>
                    <a:pt x="1491" y="330"/>
                  </a:cubicBezTo>
                  <a:cubicBezTo>
                    <a:pt x="1491" y="330"/>
                    <a:pt x="1491" y="330"/>
                    <a:pt x="1491" y="203"/>
                  </a:cubicBezTo>
                  <a:cubicBezTo>
                    <a:pt x="1491" y="167"/>
                    <a:pt x="1463" y="139"/>
                    <a:pt x="1424" y="139"/>
                  </a:cubicBezTo>
                  <a:cubicBezTo>
                    <a:pt x="1424" y="139"/>
                    <a:pt x="1424" y="139"/>
                    <a:pt x="914" y="139"/>
                  </a:cubicBezTo>
                  <a:cubicBezTo>
                    <a:pt x="875" y="139"/>
                    <a:pt x="847" y="167"/>
                    <a:pt x="847" y="203"/>
                  </a:cubicBezTo>
                  <a:close/>
                  <a:moveTo>
                    <a:pt x="1169" y="772"/>
                  </a:moveTo>
                  <a:cubicBezTo>
                    <a:pt x="1431" y="772"/>
                    <a:pt x="1647" y="987"/>
                    <a:pt x="1647" y="1248"/>
                  </a:cubicBezTo>
                  <a:cubicBezTo>
                    <a:pt x="1647" y="1508"/>
                    <a:pt x="1431" y="1724"/>
                    <a:pt x="1169" y="1724"/>
                  </a:cubicBezTo>
                  <a:cubicBezTo>
                    <a:pt x="907" y="1724"/>
                    <a:pt x="692" y="1508"/>
                    <a:pt x="692" y="1248"/>
                  </a:cubicBezTo>
                  <a:cubicBezTo>
                    <a:pt x="692" y="987"/>
                    <a:pt x="907" y="772"/>
                    <a:pt x="1169" y="772"/>
                  </a:cubicBezTo>
                  <a:close/>
                  <a:moveTo>
                    <a:pt x="1481" y="1283"/>
                  </a:moveTo>
                  <a:cubicBezTo>
                    <a:pt x="1481" y="1283"/>
                    <a:pt x="1481" y="1283"/>
                    <a:pt x="1481" y="1283"/>
                  </a:cubicBezTo>
                  <a:cubicBezTo>
                    <a:pt x="1481" y="1212"/>
                    <a:pt x="1481" y="1212"/>
                    <a:pt x="1481" y="1212"/>
                  </a:cubicBezTo>
                  <a:cubicBezTo>
                    <a:pt x="1481" y="1177"/>
                    <a:pt x="1456" y="1149"/>
                    <a:pt x="1420" y="1149"/>
                  </a:cubicBezTo>
                  <a:cubicBezTo>
                    <a:pt x="1420" y="1149"/>
                    <a:pt x="1420" y="1149"/>
                    <a:pt x="1268" y="1149"/>
                  </a:cubicBezTo>
                  <a:cubicBezTo>
                    <a:pt x="1268" y="1149"/>
                    <a:pt x="1268" y="1149"/>
                    <a:pt x="1268" y="997"/>
                  </a:cubicBezTo>
                  <a:cubicBezTo>
                    <a:pt x="1268" y="962"/>
                    <a:pt x="1240" y="937"/>
                    <a:pt x="1205" y="937"/>
                  </a:cubicBezTo>
                  <a:cubicBezTo>
                    <a:pt x="1205" y="937"/>
                    <a:pt x="1205" y="937"/>
                    <a:pt x="1134" y="937"/>
                  </a:cubicBezTo>
                  <a:cubicBezTo>
                    <a:pt x="1098" y="937"/>
                    <a:pt x="1070" y="962"/>
                    <a:pt x="1070" y="997"/>
                  </a:cubicBezTo>
                  <a:cubicBezTo>
                    <a:pt x="1070" y="997"/>
                    <a:pt x="1070" y="997"/>
                    <a:pt x="1070" y="1149"/>
                  </a:cubicBezTo>
                  <a:cubicBezTo>
                    <a:pt x="1070" y="1149"/>
                    <a:pt x="1070" y="1149"/>
                    <a:pt x="918" y="1149"/>
                  </a:cubicBezTo>
                  <a:cubicBezTo>
                    <a:pt x="886" y="1149"/>
                    <a:pt x="858" y="1177"/>
                    <a:pt x="858" y="1212"/>
                  </a:cubicBezTo>
                  <a:cubicBezTo>
                    <a:pt x="858" y="1212"/>
                    <a:pt x="858" y="1212"/>
                    <a:pt x="858" y="1283"/>
                  </a:cubicBezTo>
                  <a:cubicBezTo>
                    <a:pt x="858" y="1318"/>
                    <a:pt x="886" y="1346"/>
                    <a:pt x="918" y="1346"/>
                  </a:cubicBezTo>
                  <a:cubicBezTo>
                    <a:pt x="918" y="1346"/>
                    <a:pt x="918" y="1346"/>
                    <a:pt x="1070" y="1346"/>
                  </a:cubicBezTo>
                  <a:cubicBezTo>
                    <a:pt x="1070" y="1346"/>
                    <a:pt x="1070" y="1346"/>
                    <a:pt x="1070" y="1498"/>
                  </a:cubicBezTo>
                  <a:cubicBezTo>
                    <a:pt x="1070" y="1530"/>
                    <a:pt x="1098" y="1558"/>
                    <a:pt x="1134" y="1558"/>
                  </a:cubicBezTo>
                  <a:cubicBezTo>
                    <a:pt x="1134" y="1558"/>
                    <a:pt x="1134" y="1558"/>
                    <a:pt x="1205" y="1558"/>
                  </a:cubicBezTo>
                  <a:cubicBezTo>
                    <a:pt x="1240" y="1558"/>
                    <a:pt x="1268" y="1530"/>
                    <a:pt x="1268" y="1498"/>
                  </a:cubicBezTo>
                  <a:cubicBezTo>
                    <a:pt x="1268" y="1498"/>
                    <a:pt x="1268" y="1498"/>
                    <a:pt x="1268" y="1346"/>
                  </a:cubicBezTo>
                  <a:cubicBezTo>
                    <a:pt x="1268" y="1346"/>
                    <a:pt x="1268" y="1346"/>
                    <a:pt x="1420" y="1346"/>
                  </a:cubicBezTo>
                  <a:cubicBezTo>
                    <a:pt x="1456" y="1346"/>
                    <a:pt x="1481" y="1318"/>
                    <a:pt x="1481" y="1283"/>
                  </a:cubicBezTo>
                  <a:close/>
                  <a:moveTo>
                    <a:pt x="2045" y="389"/>
                  </a:moveTo>
                  <a:cubicBezTo>
                    <a:pt x="2208" y="389"/>
                    <a:pt x="2338" y="520"/>
                    <a:pt x="2338" y="683"/>
                  </a:cubicBezTo>
                  <a:cubicBezTo>
                    <a:pt x="2338" y="683"/>
                    <a:pt x="2338" y="683"/>
                    <a:pt x="2338" y="1808"/>
                  </a:cubicBezTo>
                  <a:cubicBezTo>
                    <a:pt x="2338" y="1971"/>
                    <a:pt x="2208" y="2102"/>
                    <a:pt x="2045" y="2102"/>
                  </a:cubicBezTo>
                  <a:cubicBezTo>
                    <a:pt x="2045" y="2102"/>
                    <a:pt x="2045" y="2102"/>
                    <a:pt x="293" y="2102"/>
                  </a:cubicBezTo>
                  <a:cubicBezTo>
                    <a:pt x="131" y="2102"/>
                    <a:pt x="0" y="1971"/>
                    <a:pt x="0" y="1808"/>
                  </a:cubicBezTo>
                  <a:cubicBezTo>
                    <a:pt x="0" y="1808"/>
                    <a:pt x="0" y="1808"/>
                    <a:pt x="0" y="683"/>
                  </a:cubicBezTo>
                  <a:cubicBezTo>
                    <a:pt x="0" y="520"/>
                    <a:pt x="131" y="389"/>
                    <a:pt x="293" y="389"/>
                  </a:cubicBezTo>
                  <a:cubicBezTo>
                    <a:pt x="293" y="389"/>
                    <a:pt x="293" y="389"/>
                    <a:pt x="2045" y="389"/>
                  </a:cubicBezTo>
                  <a:close/>
                  <a:moveTo>
                    <a:pt x="1169" y="1837"/>
                  </a:moveTo>
                  <a:cubicBezTo>
                    <a:pt x="1494" y="1837"/>
                    <a:pt x="1759" y="1571"/>
                    <a:pt x="1759" y="1246"/>
                  </a:cubicBezTo>
                  <a:cubicBezTo>
                    <a:pt x="1759" y="920"/>
                    <a:pt x="1494" y="655"/>
                    <a:pt x="1169" y="655"/>
                  </a:cubicBezTo>
                  <a:cubicBezTo>
                    <a:pt x="844" y="655"/>
                    <a:pt x="579" y="920"/>
                    <a:pt x="579" y="1246"/>
                  </a:cubicBezTo>
                  <a:cubicBezTo>
                    <a:pt x="579" y="1571"/>
                    <a:pt x="844" y="1837"/>
                    <a:pt x="1169" y="18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421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adoop </a:t>
            </a:r>
            <a:r>
              <a:rPr lang="ko-KR" altLang="en-US" dirty="0"/>
              <a:t>구현에서의 문제</a:t>
            </a:r>
          </a:p>
        </p:txBody>
      </p:sp>
      <p:grpSp>
        <p:nvGrpSpPr>
          <p:cNvPr id="42" name="Group 3"/>
          <p:cNvGrpSpPr/>
          <p:nvPr/>
        </p:nvGrpSpPr>
        <p:grpSpPr>
          <a:xfrm>
            <a:off x="281690" y="1184826"/>
            <a:ext cx="3588812" cy="3588812"/>
            <a:chOff x="287338" y="1208087"/>
            <a:chExt cx="3660775" cy="3660775"/>
          </a:xfrm>
        </p:grpSpPr>
        <p:sp>
          <p:nvSpPr>
            <p:cNvPr id="43" name="Rectangle 8"/>
            <p:cNvSpPr/>
            <p:nvPr/>
          </p:nvSpPr>
          <p:spPr bwMode="auto">
            <a:xfrm>
              <a:off x="287338" y="1208087"/>
              <a:ext cx="3660775" cy="3660775"/>
            </a:xfrm>
            <a:prstGeom prst="rect">
              <a:avLst/>
            </a:prstGeom>
            <a:solidFill>
              <a:srgbClr val="00188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79285" tIns="143428" rIns="179285" bIns="143428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8960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81677" algn="l"/>
                </a:tabLst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p-front HW costs</a:t>
              </a:r>
            </a:p>
          </p:txBody>
        </p:sp>
        <p:grpSp>
          <p:nvGrpSpPr>
            <p:cNvPr id="44" name="Group 9"/>
            <p:cNvGrpSpPr/>
            <p:nvPr/>
          </p:nvGrpSpPr>
          <p:grpSpPr>
            <a:xfrm>
              <a:off x="590814" y="1363530"/>
              <a:ext cx="2880528" cy="2697084"/>
              <a:chOff x="734217" y="1544936"/>
              <a:chExt cx="2908508" cy="2723282"/>
            </a:xfrm>
          </p:grpSpPr>
          <p:pic>
            <p:nvPicPr>
              <p:cNvPr id="45" name="Picture 2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00000"/>
              </a:blip>
              <a:stretch>
                <a:fillRect/>
              </a:stretch>
            </p:blipFill>
            <p:spPr bwMode="auto">
              <a:xfrm>
                <a:off x="734217" y="2052630"/>
                <a:ext cx="1061892" cy="1415488"/>
              </a:xfrm>
              <a:prstGeom prst="rect">
                <a:avLst/>
              </a:prstGeom>
              <a:noFill/>
            </p:spPr>
          </p:pic>
          <p:pic>
            <p:nvPicPr>
              <p:cNvPr id="46" name="Picture 2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00000"/>
              </a:blip>
              <a:stretch>
                <a:fillRect/>
              </a:stretch>
            </p:blipFill>
            <p:spPr bwMode="auto">
              <a:xfrm>
                <a:off x="1225887" y="2852730"/>
                <a:ext cx="1061892" cy="1415488"/>
              </a:xfrm>
              <a:prstGeom prst="rect">
                <a:avLst/>
              </a:prstGeom>
              <a:noFill/>
            </p:spPr>
          </p:pic>
          <p:pic>
            <p:nvPicPr>
              <p:cNvPr id="47" name="Picture 2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00000"/>
              </a:blip>
              <a:stretch>
                <a:fillRect/>
              </a:stretch>
            </p:blipFill>
            <p:spPr bwMode="auto">
              <a:xfrm>
                <a:off x="1338476" y="2052630"/>
                <a:ext cx="1061892" cy="1415488"/>
              </a:xfrm>
              <a:prstGeom prst="rect">
                <a:avLst/>
              </a:prstGeom>
              <a:noFill/>
            </p:spPr>
          </p:pic>
          <p:pic>
            <p:nvPicPr>
              <p:cNvPr id="48" name="Picture 2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00000"/>
              </a:blip>
              <a:stretch>
                <a:fillRect/>
              </a:stretch>
            </p:blipFill>
            <p:spPr bwMode="auto">
              <a:xfrm>
                <a:off x="1854864" y="2852730"/>
                <a:ext cx="1061892" cy="1415488"/>
              </a:xfrm>
              <a:prstGeom prst="rect">
                <a:avLst/>
              </a:prstGeom>
              <a:noFill/>
            </p:spPr>
          </p:pic>
          <p:pic>
            <p:nvPicPr>
              <p:cNvPr id="49" name="Picture 2" descr="\\MAGNUM\Projects\Microsoft\Cloud Power FY12\Design\Icons\PNGs\Marketplac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rcRect/>
              <a:stretch>
                <a:fillRect/>
              </a:stretch>
            </p:blipFill>
            <p:spPr bwMode="auto">
              <a:xfrm rot="20193911">
                <a:off x="2512987" y="1544936"/>
                <a:ext cx="1129738" cy="1129738"/>
              </a:xfrm>
              <a:prstGeom prst="rect">
                <a:avLst/>
              </a:prstGeom>
              <a:noFill/>
            </p:spPr>
          </p:pic>
          <p:sp>
            <p:nvSpPr>
              <p:cNvPr id="50" name="Rectangle 17"/>
              <p:cNvSpPr/>
              <p:nvPr/>
            </p:nvSpPr>
            <p:spPr bwMode="auto">
              <a:xfrm>
                <a:off x="734217" y="2052630"/>
                <a:ext cx="2182539" cy="2215588"/>
              </a:xfrm>
              <a:prstGeom prst="rect">
                <a:avLst/>
              </a:prstGeom>
              <a:noFill/>
              <a:ln w="31750" cap="sq" cmpd="sng" algn="ctr">
                <a:solidFill>
                  <a:srgbClr val="FFFFFF"/>
                </a:solidFill>
                <a:prstDash val="sysDot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grpSp>
        <p:nvGrpSpPr>
          <p:cNvPr id="51" name="Group 5"/>
          <p:cNvGrpSpPr/>
          <p:nvPr/>
        </p:nvGrpSpPr>
        <p:grpSpPr>
          <a:xfrm>
            <a:off x="3977463" y="1184826"/>
            <a:ext cx="3588812" cy="3588812"/>
            <a:chOff x="4057218" y="1208087"/>
            <a:chExt cx="3660775" cy="3660775"/>
          </a:xfrm>
        </p:grpSpPr>
        <p:sp>
          <p:nvSpPr>
            <p:cNvPr id="52" name="Rectangle 6"/>
            <p:cNvSpPr/>
            <p:nvPr/>
          </p:nvSpPr>
          <p:spPr bwMode="auto">
            <a:xfrm>
              <a:off x="4057218" y="1208087"/>
              <a:ext cx="3660775" cy="3660775"/>
            </a:xfrm>
            <a:prstGeom prst="rect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79285" tIns="143428" rIns="179285" bIns="143428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8960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81677" algn="l"/>
                </a:tabLst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apacity planning</a:t>
              </a:r>
            </a:p>
          </p:txBody>
        </p:sp>
        <p:grpSp>
          <p:nvGrpSpPr>
            <p:cNvPr id="53" name="Group 24"/>
            <p:cNvGrpSpPr/>
            <p:nvPr/>
          </p:nvGrpSpPr>
          <p:grpSpPr>
            <a:xfrm>
              <a:off x="4251589" y="1443278"/>
              <a:ext cx="3254664" cy="2617336"/>
              <a:chOff x="4005323" y="1801970"/>
              <a:chExt cx="3152437" cy="2535127"/>
            </a:xfrm>
          </p:grpSpPr>
          <p:pic>
            <p:nvPicPr>
              <p:cNvPr id="54" name="Picture 2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00000"/>
              </a:blip>
              <a:stretch>
                <a:fillRect/>
              </a:stretch>
            </p:blipFill>
            <p:spPr bwMode="auto">
              <a:xfrm>
                <a:off x="6553398" y="3057460"/>
                <a:ext cx="604362" cy="713392"/>
              </a:xfrm>
              <a:prstGeom prst="rect">
                <a:avLst/>
              </a:prstGeom>
              <a:noFill/>
            </p:spPr>
          </p:pic>
          <p:grpSp>
            <p:nvGrpSpPr>
              <p:cNvPr id="55" name="Group 12"/>
              <p:cNvGrpSpPr/>
              <p:nvPr/>
            </p:nvGrpSpPr>
            <p:grpSpPr>
              <a:xfrm>
                <a:off x="4005323" y="1801970"/>
                <a:ext cx="3128503" cy="2535127"/>
                <a:chOff x="4005323" y="1801970"/>
                <a:chExt cx="3128503" cy="2535127"/>
              </a:xfrm>
            </p:grpSpPr>
            <p:pic>
              <p:nvPicPr>
                <p:cNvPr id="56" name="Picture 2" descr="\\MAGNUM\Projects\Microsoft\Cloud Power FY12\Design\ICONS_PNG\Tower.png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lum bright="100000"/>
                </a:blip>
                <a:stretch>
                  <a:fillRect/>
                </a:stretch>
              </p:blipFill>
              <p:spPr bwMode="auto">
                <a:xfrm>
                  <a:off x="6529464" y="2439583"/>
                  <a:ext cx="604362" cy="713392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57" name="Group 10"/>
                <p:cNvGrpSpPr/>
                <p:nvPr/>
              </p:nvGrpSpPr>
              <p:grpSpPr>
                <a:xfrm>
                  <a:off x="4005323" y="1801970"/>
                  <a:ext cx="3085683" cy="2535127"/>
                  <a:chOff x="4005323" y="1801970"/>
                  <a:chExt cx="3085683" cy="2535127"/>
                </a:xfrm>
              </p:grpSpPr>
              <p:grpSp>
                <p:nvGrpSpPr>
                  <p:cNvPr id="58" name="Group 23"/>
                  <p:cNvGrpSpPr/>
                  <p:nvPr/>
                </p:nvGrpSpPr>
                <p:grpSpPr>
                  <a:xfrm>
                    <a:off x="4005323" y="3220463"/>
                    <a:ext cx="1242163" cy="1116634"/>
                    <a:chOff x="4572483" y="2652431"/>
                    <a:chExt cx="2182539" cy="2215588"/>
                  </a:xfrm>
                </p:grpSpPr>
                <p:pic>
                  <p:nvPicPr>
                    <p:cNvPr id="71" name="Picture 2" descr="\\MAGNUM\Projects\Microsoft\Cloud Power FY12\Design\ICONS_PNG\Tower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" cstate="print">
                      <a:lum bright="100000"/>
                    </a:blip>
                    <a:stretch>
                      <a:fillRect/>
                    </a:stretch>
                  </p:blipFill>
                  <p:spPr bwMode="auto">
                    <a:xfrm>
                      <a:off x="4572483" y="2652431"/>
                      <a:ext cx="1061892" cy="1415488"/>
                    </a:xfrm>
                    <a:prstGeom prst="rect">
                      <a:avLst/>
                    </a:prstGeom>
                    <a:noFill/>
                  </p:spPr>
                </p:pic>
                <p:pic>
                  <p:nvPicPr>
                    <p:cNvPr id="72" name="Picture 2" descr="\\MAGNUM\Projects\Microsoft\Cloud Power FY12\Design\ICONS_PNG\Tower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" cstate="print">
                      <a:lum bright="100000"/>
                    </a:blip>
                    <a:stretch>
                      <a:fillRect/>
                    </a:stretch>
                  </p:blipFill>
                  <p:spPr bwMode="auto">
                    <a:xfrm>
                      <a:off x="5064153" y="3452531"/>
                      <a:ext cx="1061892" cy="1415488"/>
                    </a:xfrm>
                    <a:prstGeom prst="rect">
                      <a:avLst/>
                    </a:prstGeom>
                    <a:noFill/>
                  </p:spPr>
                </p:pic>
                <p:pic>
                  <p:nvPicPr>
                    <p:cNvPr id="73" name="Picture 2" descr="\\MAGNUM\Projects\Microsoft\Cloud Power FY12\Design\ICONS_PNG\Tower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" cstate="print">
                      <a:lum bright="100000"/>
                    </a:blip>
                    <a:stretch>
                      <a:fillRect/>
                    </a:stretch>
                  </p:blipFill>
                  <p:spPr bwMode="auto">
                    <a:xfrm>
                      <a:off x="5176742" y="2652431"/>
                      <a:ext cx="1061892" cy="1415488"/>
                    </a:xfrm>
                    <a:prstGeom prst="rect">
                      <a:avLst/>
                    </a:prstGeom>
                    <a:noFill/>
                  </p:spPr>
                </p:pic>
                <p:pic>
                  <p:nvPicPr>
                    <p:cNvPr id="74" name="Picture 2" descr="\\MAGNUM\Projects\Microsoft\Cloud Power FY12\Design\ICONS_PNG\Tower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" cstate="print">
                      <a:lum bright="100000"/>
                    </a:blip>
                    <a:stretch>
                      <a:fillRect/>
                    </a:stretch>
                  </p:blipFill>
                  <p:spPr bwMode="auto">
                    <a:xfrm>
                      <a:off x="5693130" y="3452531"/>
                      <a:ext cx="1061892" cy="1415488"/>
                    </a:xfrm>
                    <a:prstGeom prst="rect">
                      <a:avLst/>
                    </a:prstGeom>
                    <a:noFill/>
                  </p:spPr>
                </p:pic>
                <p:sp>
                  <p:nvSpPr>
                    <p:cNvPr id="75" name="Rectangle 22"/>
                    <p:cNvSpPr/>
                    <p:nvPr/>
                  </p:nvSpPr>
                  <p:spPr bwMode="auto">
                    <a:xfrm>
                      <a:off x="4572483" y="2652431"/>
                      <a:ext cx="2182539" cy="2215588"/>
                    </a:xfrm>
                    <a:prstGeom prst="rect">
                      <a:avLst/>
                    </a:prstGeom>
                    <a:noFill/>
                    <a:ln w="31750" cap="sq" cmpd="sng" algn="ctr">
                      <a:solidFill>
                        <a:srgbClr val="FFFFFF"/>
                      </a:solidFill>
                      <a:prstDash val="sysDot"/>
                      <a:miter lim="800000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102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pic>
                <p:nvPicPr>
                  <p:cNvPr id="59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5517117" y="2452604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0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5502537" y="3066860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1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5861023" y="2452604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2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5883377" y="3055678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sp>
                <p:nvSpPr>
                  <p:cNvPr id="63" name="Rectangle 29"/>
                  <p:cNvSpPr/>
                  <p:nvPr/>
                </p:nvSpPr>
                <p:spPr bwMode="auto">
                  <a:xfrm>
                    <a:off x="5517117" y="1801970"/>
                    <a:ext cx="1488831" cy="2036897"/>
                  </a:xfrm>
                  <a:prstGeom prst="rect">
                    <a:avLst/>
                  </a:prstGeom>
                  <a:noFill/>
                  <a:ln w="31750" cap="sq" cmpd="sng" algn="ctr">
                    <a:solidFill>
                      <a:srgbClr val="FFFFFF"/>
                    </a:solidFill>
                    <a:prstDash val="sysDot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eaLnBrk="1" fontAlgn="auto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961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pic>
                <p:nvPicPr>
                  <p:cNvPr id="64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5517117" y="1858574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5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5861023" y="1858574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6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6204929" y="2457763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7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6486644" y="1830373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8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6191654" y="1858574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9" name="Picture 2" descr="\\MAGNUM\Projects\Microsoft\Cloud Power FY12\Design\ICONS_PNG\Tower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lum bright="100000"/>
                  </a:blip>
                  <a:stretch>
                    <a:fillRect/>
                  </a:stretch>
                </p:blipFill>
                <p:spPr bwMode="auto">
                  <a:xfrm>
                    <a:off x="6235569" y="3056292"/>
                    <a:ext cx="604362" cy="713392"/>
                  </a:xfrm>
                  <a:prstGeom prst="rect">
                    <a:avLst/>
                  </a:prstGeom>
                  <a:noFill/>
                </p:spPr>
              </p:pic>
              <p:sp>
                <p:nvSpPr>
                  <p:cNvPr id="70" name="Up Arrow 42"/>
                  <p:cNvSpPr/>
                  <p:nvPr/>
                </p:nvSpPr>
                <p:spPr bwMode="auto">
                  <a:xfrm rot="3582986">
                    <a:off x="5085703" y="2814542"/>
                    <a:ext cx="596076" cy="713392"/>
                  </a:xfrm>
                  <a:prstGeom prst="upArrow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102" eaLnBrk="1" fontAlgn="auto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961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</p:grpSp>
      </p:grpSp>
      <p:grpSp>
        <p:nvGrpSpPr>
          <p:cNvPr id="76" name="Group 7"/>
          <p:cNvGrpSpPr/>
          <p:nvPr/>
        </p:nvGrpSpPr>
        <p:grpSpPr>
          <a:xfrm>
            <a:off x="7673234" y="1184826"/>
            <a:ext cx="3588812" cy="3588812"/>
            <a:chOff x="7827097" y="1208087"/>
            <a:chExt cx="3660775" cy="3660775"/>
          </a:xfrm>
        </p:grpSpPr>
        <p:sp>
          <p:nvSpPr>
            <p:cNvPr id="77" name="Rectangle 4"/>
            <p:cNvSpPr/>
            <p:nvPr/>
          </p:nvSpPr>
          <p:spPr bwMode="auto">
            <a:xfrm>
              <a:off x="7827097" y="1208087"/>
              <a:ext cx="3660775" cy="3660775"/>
            </a:xfrm>
            <a:prstGeom prst="rect">
              <a:avLst/>
            </a:prstGeom>
            <a:solidFill>
              <a:srgbClr val="B4A0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79285" tIns="143428" rIns="179285" bIns="143428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8960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81677" algn="l"/>
                </a:tabLst>
                <a:defRPr/>
              </a:pPr>
              <a:r>
                <a:rPr kumimoji="0" lang="en-US" sz="176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Hadoop expertise</a:t>
              </a:r>
            </a:p>
          </p:txBody>
        </p:sp>
        <p:sp>
          <p:nvSpPr>
            <p:cNvPr id="78" name="Cloud Callout 45"/>
            <p:cNvSpPr/>
            <p:nvPr/>
          </p:nvSpPr>
          <p:spPr bwMode="auto">
            <a:xfrm>
              <a:off x="9371608" y="1628595"/>
              <a:ext cx="1746787" cy="1553867"/>
            </a:xfrm>
            <a:prstGeom prst="cloudCallout">
              <a:avLst>
                <a:gd name="adj1" fmla="val -61519"/>
                <a:gd name="adj2" fmla="val 24529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Freeform 13"/>
            <p:cNvSpPr>
              <a:spLocks noChangeAspect="1" noEditPoints="1"/>
            </p:cNvSpPr>
            <p:nvPr/>
          </p:nvSpPr>
          <p:spPr bwMode="auto">
            <a:xfrm>
              <a:off x="8280145" y="2790368"/>
              <a:ext cx="1168993" cy="1185986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80" name="Picture 43" descr="FuckingElephant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794733" y="2013333"/>
              <a:ext cx="900535" cy="6850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9925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adoop</a:t>
            </a:r>
            <a:r>
              <a:rPr lang="ko-KR" altLang="en-US"/>
              <a:t>은 큰 문제를 해결하기 시작함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altLang="ko-KR" sz="2000" b="1" dirty="0"/>
              <a:t>2003-2004</a:t>
            </a:r>
            <a:r>
              <a:rPr lang="en-US" altLang="ko-KR" sz="2000" dirty="0"/>
              <a:t> </a:t>
            </a:r>
            <a:r>
              <a:rPr lang="en-US" altLang="ko-KR" sz="2000" dirty="0">
                <a:solidFill>
                  <a:schemeClr val="tx1"/>
                </a:solidFill>
              </a:rPr>
              <a:t>Google</a:t>
            </a:r>
            <a:r>
              <a:rPr lang="ko-KR" altLang="en-US" sz="2000">
                <a:solidFill>
                  <a:schemeClr val="tx1"/>
                </a:solidFill>
              </a:rPr>
              <a:t>이 </a:t>
            </a:r>
            <a:r>
              <a:rPr lang="en-US" altLang="ko-KR" sz="2000" dirty="0">
                <a:solidFill>
                  <a:schemeClr val="tx1"/>
                </a:solidFill>
              </a:rPr>
              <a:t>File System</a:t>
            </a:r>
            <a:r>
              <a:rPr lang="ko-KR" altLang="en-US" sz="2000">
                <a:solidFill>
                  <a:schemeClr val="tx1"/>
                </a:solidFill>
              </a:rPr>
              <a:t>과 </a:t>
            </a:r>
            <a:r>
              <a:rPr lang="en-US" altLang="ko-KR" sz="2000" dirty="0">
                <a:solidFill>
                  <a:schemeClr val="tx1"/>
                </a:solidFill>
              </a:rPr>
              <a:t>MapReduce </a:t>
            </a:r>
            <a:r>
              <a:rPr lang="ko-KR" altLang="en-US" sz="2000">
                <a:solidFill>
                  <a:schemeClr val="tx1"/>
                </a:solidFill>
              </a:rPr>
              <a:t>관련 논문을 출간</a:t>
            </a:r>
            <a:endParaRPr lang="en-US" altLang="ko-KR" sz="2000" dirty="0">
              <a:solidFill>
                <a:schemeClr val="tx1"/>
              </a:solidFill>
            </a:endParaRPr>
          </a:p>
          <a:p>
            <a:r>
              <a:rPr lang="en-US" altLang="ko-KR" sz="2000" b="1" dirty="0"/>
              <a:t>2004</a:t>
            </a:r>
            <a:r>
              <a:rPr lang="en-US" altLang="ko-KR" sz="2000" dirty="0"/>
              <a:t> </a:t>
            </a:r>
            <a:r>
              <a:rPr lang="en-US" altLang="ko-KR" sz="2000" dirty="0">
                <a:solidFill>
                  <a:schemeClr val="tx1"/>
                </a:solidFill>
              </a:rPr>
              <a:t>Hadoop</a:t>
            </a:r>
            <a:r>
              <a:rPr lang="ko-KR" altLang="en-US" sz="2000">
                <a:solidFill>
                  <a:schemeClr val="tx1"/>
                </a:solidFill>
              </a:rPr>
              <a:t>의 창시자들이 논문을 참조하여 </a:t>
            </a:r>
            <a:r>
              <a:rPr lang="en-US" altLang="ko-KR" sz="2000" dirty="0">
                <a:solidFill>
                  <a:schemeClr val="tx1"/>
                </a:solidFill>
              </a:rPr>
              <a:t>Java</a:t>
            </a:r>
            <a:r>
              <a:rPr lang="ko-KR" altLang="en-US" sz="2000">
                <a:solidFill>
                  <a:schemeClr val="tx1"/>
                </a:solidFill>
              </a:rPr>
              <a:t>를 사용해 파일 시스템과 프로세싱을 만듦</a:t>
            </a:r>
            <a:endParaRPr lang="en-US" altLang="ko-KR" sz="2000" dirty="0">
              <a:solidFill>
                <a:schemeClr val="tx1"/>
              </a:solidFill>
            </a:endParaRPr>
          </a:p>
          <a:p>
            <a:r>
              <a:rPr lang="en-US" altLang="ko-KR" sz="2000" b="1" dirty="0"/>
              <a:t>2006</a:t>
            </a:r>
            <a:r>
              <a:rPr lang="en-US" altLang="ko-KR" sz="2000" dirty="0"/>
              <a:t> </a:t>
            </a:r>
            <a:r>
              <a:rPr lang="en-US" altLang="ko-KR" sz="2000" dirty="0">
                <a:solidFill>
                  <a:schemeClr val="tx1"/>
                </a:solidFill>
              </a:rPr>
              <a:t>Yahoo!</a:t>
            </a:r>
            <a:r>
              <a:rPr lang="ko-KR" altLang="en-US" sz="2000">
                <a:solidFill>
                  <a:schemeClr val="tx1"/>
                </a:solidFill>
              </a:rPr>
              <a:t>가 창시자 중 한명을 고용하고 </a:t>
            </a:r>
            <a:r>
              <a:rPr lang="en-US" altLang="ko-KR" sz="2000" dirty="0">
                <a:solidFill>
                  <a:schemeClr val="tx1"/>
                </a:solidFill>
              </a:rPr>
              <a:t>Apache Hadoop</a:t>
            </a:r>
            <a:r>
              <a:rPr lang="ko-KR" altLang="en-US" sz="2000">
                <a:solidFill>
                  <a:schemeClr val="tx1"/>
                </a:solidFill>
              </a:rPr>
              <a:t>으로</a:t>
            </a:r>
            <a:r>
              <a:rPr lang="en-US" altLang="ko-KR" sz="2000" dirty="0">
                <a:solidFill>
                  <a:schemeClr val="tx1"/>
                </a:solidFill>
              </a:rPr>
              <a:t> </a:t>
            </a:r>
            <a:r>
              <a:rPr lang="ko-KR" altLang="en-US" sz="2000">
                <a:solidFill>
                  <a:schemeClr val="tx1"/>
                </a:solidFill>
              </a:rPr>
              <a:t>오픈소스 프로젝트화 함</a:t>
            </a:r>
            <a:endParaRPr lang="en-US" altLang="ko-KR" sz="2000" dirty="0">
              <a:solidFill>
                <a:schemeClr val="tx1"/>
              </a:solidFill>
            </a:endParaRPr>
          </a:p>
          <a:p>
            <a:r>
              <a:rPr lang="en-US" altLang="ko-KR" sz="2000" b="1" dirty="0"/>
              <a:t>2008</a:t>
            </a:r>
            <a:r>
              <a:rPr lang="en-US" altLang="ko-KR" sz="2000" dirty="0"/>
              <a:t> </a:t>
            </a:r>
            <a:r>
              <a:rPr lang="en-US" altLang="ko-KR" sz="2000" dirty="0">
                <a:solidFill>
                  <a:schemeClr val="tx1"/>
                </a:solidFill>
              </a:rPr>
              <a:t>Yahoo!</a:t>
            </a:r>
            <a:r>
              <a:rPr lang="ko-KR" altLang="en-US" sz="2000">
                <a:solidFill>
                  <a:schemeClr val="tx1"/>
                </a:solidFill>
              </a:rPr>
              <a:t>에서 </a:t>
            </a:r>
            <a:r>
              <a:rPr lang="en-US" altLang="ko-KR" sz="2000" dirty="0">
                <a:solidFill>
                  <a:schemeClr val="tx1"/>
                </a:solidFill>
              </a:rPr>
              <a:t>Hadoop</a:t>
            </a:r>
            <a:r>
              <a:rPr lang="ko-KR" altLang="en-US" sz="2000">
                <a:solidFill>
                  <a:schemeClr val="tx1"/>
                </a:solidFill>
              </a:rPr>
              <a:t>의 대규모 운영을 시작</a:t>
            </a:r>
            <a:endParaRPr lang="en-US" altLang="ko-KR" sz="2000" dirty="0">
              <a:solidFill>
                <a:schemeClr val="tx1"/>
              </a:solidFill>
            </a:endParaRPr>
          </a:p>
          <a:p>
            <a:r>
              <a:rPr lang="en-US" altLang="ko-KR" sz="2000" b="1" dirty="0"/>
              <a:t>Today</a:t>
            </a:r>
            <a:r>
              <a:rPr lang="en-US" altLang="ko-KR" sz="2000" dirty="0"/>
              <a:t> </a:t>
            </a:r>
            <a:r>
              <a:rPr lang="ko-KR" altLang="en-US" sz="2000">
                <a:solidFill>
                  <a:schemeClr val="tx1"/>
                </a:solidFill>
              </a:rPr>
              <a:t>다양한 </a:t>
            </a:r>
            <a:r>
              <a:rPr lang="en-US" altLang="ko-KR" sz="2000" dirty="0">
                <a:solidFill>
                  <a:schemeClr val="tx1"/>
                </a:solidFill>
              </a:rPr>
              <a:t>Hadoop </a:t>
            </a:r>
            <a:r>
              <a:rPr lang="ko-KR" altLang="en-US" sz="2000">
                <a:solidFill>
                  <a:schemeClr val="tx1"/>
                </a:solidFill>
              </a:rPr>
              <a:t>배포판 사용 가능</a:t>
            </a:r>
          </a:p>
        </p:txBody>
      </p:sp>
      <p:grpSp>
        <p:nvGrpSpPr>
          <p:cNvPr id="4" name="Group 9"/>
          <p:cNvGrpSpPr/>
          <p:nvPr/>
        </p:nvGrpSpPr>
        <p:grpSpPr>
          <a:xfrm>
            <a:off x="540814" y="3471598"/>
            <a:ext cx="11217106" cy="3401876"/>
            <a:chOff x="481263" y="3097854"/>
            <a:chExt cx="11442032" cy="3470091"/>
          </a:xfrm>
        </p:grpSpPr>
        <p:sp>
          <p:nvSpPr>
            <p:cNvPr id="5" name="Rectangle 21"/>
            <p:cNvSpPr/>
            <p:nvPr/>
          </p:nvSpPr>
          <p:spPr bwMode="auto">
            <a:xfrm>
              <a:off x="481263" y="3097854"/>
              <a:ext cx="11442032" cy="332700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ounded Rectangle 37"/>
            <p:cNvSpPr>
              <a:spLocks/>
            </p:cNvSpPr>
            <p:nvPr/>
          </p:nvSpPr>
          <p:spPr>
            <a:xfrm>
              <a:off x="4178968" y="4104847"/>
              <a:ext cx="3210766" cy="878490"/>
            </a:xfrm>
            <a:custGeom>
              <a:avLst/>
              <a:gdLst>
                <a:gd name="connsiteX0" fmla="*/ 0 w 494985"/>
                <a:gd name="connsiteY0" fmla="*/ 28501 h 1035486"/>
                <a:gd name="connsiteX1" fmla="*/ 28501 w 494985"/>
                <a:gd name="connsiteY1" fmla="*/ 0 h 1035486"/>
                <a:gd name="connsiteX2" fmla="*/ 466484 w 494985"/>
                <a:gd name="connsiteY2" fmla="*/ 0 h 1035486"/>
                <a:gd name="connsiteX3" fmla="*/ 494985 w 494985"/>
                <a:gd name="connsiteY3" fmla="*/ 28501 h 1035486"/>
                <a:gd name="connsiteX4" fmla="*/ 494985 w 494985"/>
                <a:gd name="connsiteY4" fmla="*/ 1006985 h 1035486"/>
                <a:gd name="connsiteX5" fmla="*/ 466484 w 494985"/>
                <a:gd name="connsiteY5" fmla="*/ 1035486 h 1035486"/>
                <a:gd name="connsiteX6" fmla="*/ 28501 w 494985"/>
                <a:gd name="connsiteY6" fmla="*/ 1035486 h 1035486"/>
                <a:gd name="connsiteX7" fmla="*/ 0 w 494985"/>
                <a:gd name="connsiteY7" fmla="*/ 1006985 h 1035486"/>
                <a:gd name="connsiteX8" fmla="*/ 0 w 494985"/>
                <a:gd name="connsiteY8" fmla="*/ 28501 h 1035486"/>
                <a:gd name="connsiteX0" fmla="*/ 0 w 494985"/>
                <a:gd name="connsiteY0" fmla="*/ 28501 h 1100841"/>
                <a:gd name="connsiteX1" fmla="*/ 28501 w 494985"/>
                <a:gd name="connsiteY1" fmla="*/ 0 h 1100841"/>
                <a:gd name="connsiteX2" fmla="*/ 466484 w 494985"/>
                <a:gd name="connsiteY2" fmla="*/ 0 h 1100841"/>
                <a:gd name="connsiteX3" fmla="*/ 494985 w 494985"/>
                <a:gd name="connsiteY3" fmla="*/ 28501 h 1100841"/>
                <a:gd name="connsiteX4" fmla="*/ 494985 w 494985"/>
                <a:gd name="connsiteY4" fmla="*/ 1006985 h 1100841"/>
                <a:gd name="connsiteX5" fmla="*/ 466484 w 494985"/>
                <a:gd name="connsiteY5" fmla="*/ 1035486 h 1100841"/>
                <a:gd name="connsiteX6" fmla="*/ 202850 w 494985"/>
                <a:gd name="connsiteY6" fmla="*/ 1100839 h 1100841"/>
                <a:gd name="connsiteX7" fmla="*/ 28501 w 494985"/>
                <a:gd name="connsiteY7" fmla="*/ 1035486 h 1100841"/>
                <a:gd name="connsiteX8" fmla="*/ 0 w 494985"/>
                <a:gd name="connsiteY8" fmla="*/ 1006985 h 1100841"/>
                <a:gd name="connsiteX9" fmla="*/ 0 w 494985"/>
                <a:gd name="connsiteY9" fmla="*/ 28501 h 1100841"/>
                <a:gd name="connsiteX0" fmla="*/ 0 w 494985"/>
                <a:gd name="connsiteY0" fmla="*/ 28501 h 1122703"/>
                <a:gd name="connsiteX1" fmla="*/ 28501 w 494985"/>
                <a:gd name="connsiteY1" fmla="*/ 0 h 1122703"/>
                <a:gd name="connsiteX2" fmla="*/ 466484 w 494985"/>
                <a:gd name="connsiteY2" fmla="*/ 0 h 1122703"/>
                <a:gd name="connsiteX3" fmla="*/ 494985 w 494985"/>
                <a:gd name="connsiteY3" fmla="*/ 28501 h 1122703"/>
                <a:gd name="connsiteX4" fmla="*/ 494985 w 494985"/>
                <a:gd name="connsiteY4" fmla="*/ 1006985 h 1122703"/>
                <a:gd name="connsiteX5" fmla="*/ 466484 w 494985"/>
                <a:gd name="connsiteY5" fmla="*/ 1035486 h 1122703"/>
                <a:gd name="connsiteX6" fmla="*/ 326675 w 494985"/>
                <a:gd name="connsiteY6" fmla="*/ 1119889 h 1122703"/>
                <a:gd name="connsiteX7" fmla="*/ 202850 w 494985"/>
                <a:gd name="connsiteY7" fmla="*/ 1100839 h 1122703"/>
                <a:gd name="connsiteX8" fmla="*/ 28501 w 494985"/>
                <a:gd name="connsiteY8" fmla="*/ 1035486 h 1122703"/>
                <a:gd name="connsiteX9" fmla="*/ 0 w 494985"/>
                <a:gd name="connsiteY9" fmla="*/ 1006985 h 1122703"/>
                <a:gd name="connsiteX10" fmla="*/ 0 w 494985"/>
                <a:gd name="connsiteY10" fmla="*/ 28501 h 1122703"/>
                <a:gd name="connsiteX0" fmla="*/ 0 w 494985"/>
                <a:gd name="connsiteY0" fmla="*/ 28501 h 1120138"/>
                <a:gd name="connsiteX1" fmla="*/ 28501 w 494985"/>
                <a:gd name="connsiteY1" fmla="*/ 0 h 1120138"/>
                <a:gd name="connsiteX2" fmla="*/ 466484 w 494985"/>
                <a:gd name="connsiteY2" fmla="*/ 0 h 1120138"/>
                <a:gd name="connsiteX3" fmla="*/ 494985 w 494985"/>
                <a:gd name="connsiteY3" fmla="*/ 28501 h 1120138"/>
                <a:gd name="connsiteX4" fmla="*/ 494985 w 494985"/>
                <a:gd name="connsiteY4" fmla="*/ 1006985 h 1120138"/>
                <a:gd name="connsiteX5" fmla="*/ 466484 w 494985"/>
                <a:gd name="connsiteY5" fmla="*/ 1035486 h 1120138"/>
                <a:gd name="connsiteX6" fmla="*/ 364775 w 494985"/>
                <a:gd name="connsiteY6" fmla="*/ 1062739 h 1120138"/>
                <a:gd name="connsiteX7" fmla="*/ 326675 w 494985"/>
                <a:gd name="connsiteY7" fmla="*/ 1119889 h 1120138"/>
                <a:gd name="connsiteX8" fmla="*/ 202850 w 494985"/>
                <a:gd name="connsiteY8" fmla="*/ 1100839 h 1120138"/>
                <a:gd name="connsiteX9" fmla="*/ 28501 w 494985"/>
                <a:gd name="connsiteY9" fmla="*/ 1035486 h 1120138"/>
                <a:gd name="connsiteX10" fmla="*/ 0 w 494985"/>
                <a:gd name="connsiteY10" fmla="*/ 1006985 h 1120138"/>
                <a:gd name="connsiteX11" fmla="*/ 0 w 494985"/>
                <a:gd name="connsiteY11" fmla="*/ 28501 h 1120138"/>
                <a:gd name="connsiteX0" fmla="*/ 0 w 494985"/>
                <a:gd name="connsiteY0" fmla="*/ 28501 h 1126828"/>
                <a:gd name="connsiteX1" fmla="*/ 28501 w 494985"/>
                <a:gd name="connsiteY1" fmla="*/ 0 h 1126828"/>
                <a:gd name="connsiteX2" fmla="*/ 466484 w 494985"/>
                <a:gd name="connsiteY2" fmla="*/ 0 h 1126828"/>
                <a:gd name="connsiteX3" fmla="*/ 494985 w 494985"/>
                <a:gd name="connsiteY3" fmla="*/ 28501 h 1126828"/>
                <a:gd name="connsiteX4" fmla="*/ 494985 w 494985"/>
                <a:gd name="connsiteY4" fmla="*/ 1006985 h 1126828"/>
                <a:gd name="connsiteX5" fmla="*/ 466484 w 494985"/>
                <a:gd name="connsiteY5" fmla="*/ 1035486 h 1126828"/>
                <a:gd name="connsiteX6" fmla="*/ 364775 w 494985"/>
                <a:gd name="connsiteY6" fmla="*/ 1062739 h 1126828"/>
                <a:gd name="connsiteX7" fmla="*/ 326675 w 494985"/>
                <a:gd name="connsiteY7" fmla="*/ 1119889 h 1126828"/>
                <a:gd name="connsiteX8" fmla="*/ 212375 w 494985"/>
                <a:gd name="connsiteY8" fmla="*/ 1124651 h 1126828"/>
                <a:gd name="connsiteX9" fmla="*/ 28501 w 494985"/>
                <a:gd name="connsiteY9" fmla="*/ 1035486 h 1126828"/>
                <a:gd name="connsiteX10" fmla="*/ 0 w 494985"/>
                <a:gd name="connsiteY10" fmla="*/ 1006985 h 1126828"/>
                <a:gd name="connsiteX11" fmla="*/ 0 w 494985"/>
                <a:gd name="connsiteY11" fmla="*/ 28501 h 1126828"/>
                <a:gd name="connsiteX0" fmla="*/ 0 w 494985"/>
                <a:gd name="connsiteY0" fmla="*/ 28501 h 1126922"/>
                <a:gd name="connsiteX1" fmla="*/ 28501 w 494985"/>
                <a:gd name="connsiteY1" fmla="*/ 0 h 1126922"/>
                <a:gd name="connsiteX2" fmla="*/ 466484 w 494985"/>
                <a:gd name="connsiteY2" fmla="*/ 0 h 1126922"/>
                <a:gd name="connsiteX3" fmla="*/ 494985 w 494985"/>
                <a:gd name="connsiteY3" fmla="*/ 28501 h 1126922"/>
                <a:gd name="connsiteX4" fmla="*/ 494985 w 494985"/>
                <a:gd name="connsiteY4" fmla="*/ 1006985 h 1126922"/>
                <a:gd name="connsiteX5" fmla="*/ 466484 w 494985"/>
                <a:gd name="connsiteY5" fmla="*/ 1035486 h 1126922"/>
                <a:gd name="connsiteX6" fmla="*/ 364775 w 494985"/>
                <a:gd name="connsiteY6" fmla="*/ 1062739 h 1126922"/>
                <a:gd name="connsiteX7" fmla="*/ 326675 w 494985"/>
                <a:gd name="connsiteY7" fmla="*/ 1119889 h 1126922"/>
                <a:gd name="connsiteX8" fmla="*/ 212375 w 494985"/>
                <a:gd name="connsiteY8" fmla="*/ 1124651 h 1126922"/>
                <a:gd name="connsiteX9" fmla="*/ 145700 w 494985"/>
                <a:gd name="connsiteY9" fmla="*/ 1038927 h 1126922"/>
                <a:gd name="connsiteX10" fmla="*/ 28501 w 494985"/>
                <a:gd name="connsiteY10" fmla="*/ 1035486 h 1126922"/>
                <a:gd name="connsiteX11" fmla="*/ 0 w 494985"/>
                <a:gd name="connsiteY11" fmla="*/ 1006985 h 1126922"/>
                <a:gd name="connsiteX12" fmla="*/ 0 w 494985"/>
                <a:gd name="connsiteY12" fmla="*/ 28501 h 1126922"/>
                <a:gd name="connsiteX0" fmla="*/ 0 w 494985"/>
                <a:gd name="connsiteY0" fmla="*/ 28501 h 1126922"/>
                <a:gd name="connsiteX1" fmla="*/ 28501 w 494985"/>
                <a:gd name="connsiteY1" fmla="*/ 0 h 1126922"/>
                <a:gd name="connsiteX2" fmla="*/ 466484 w 494985"/>
                <a:gd name="connsiteY2" fmla="*/ 0 h 1126922"/>
                <a:gd name="connsiteX3" fmla="*/ 494985 w 494985"/>
                <a:gd name="connsiteY3" fmla="*/ 28501 h 1126922"/>
                <a:gd name="connsiteX4" fmla="*/ 494985 w 494985"/>
                <a:gd name="connsiteY4" fmla="*/ 1006985 h 1126922"/>
                <a:gd name="connsiteX5" fmla="*/ 466484 w 494985"/>
                <a:gd name="connsiteY5" fmla="*/ 1035486 h 1126922"/>
                <a:gd name="connsiteX6" fmla="*/ 364775 w 494985"/>
                <a:gd name="connsiteY6" fmla="*/ 1062739 h 1126922"/>
                <a:gd name="connsiteX7" fmla="*/ 326675 w 494985"/>
                <a:gd name="connsiteY7" fmla="*/ 1119889 h 1126922"/>
                <a:gd name="connsiteX8" fmla="*/ 212375 w 494985"/>
                <a:gd name="connsiteY8" fmla="*/ 1124651 h 1126922"/>
                <a:gd name="connsiteX9" fmla="*/ 145700 w 494985"/>
                <a:gd name="connsiteY9" fmla="*/ 1038927 h 1126922"/>
                <a:gd name="connsiteX10" fmla="*/ 28501 w 494985"/>
                <a:gd name="connsiteY10" fmla="*/ 1035486 h 1126922"/>
                <a:gd name="connsiteX11" fmla="*/ 0 w 494985"/>
                <a:gd name="connsiteY11" fmla="*/ 1006985 h 1126922"/>
                <a:gd name="connsiteX12" fmla="*/ 0 w 494985"/>
                <a:gd name="connsiteY12" fmla="*/ 28501 h 1126922"/>
                <a:gd name="connsiteX0" fmla="*/ 0 w 494985"/>
                <a:gd name="connsiteY0" fmla="*/ 28501 h 1126922"/>
                <a:gd name="connsiteX1" fmla="*/ 28501 w 494985"/>
                <a:gd name="connsiteY1" fmla="*/ 0 h 1126922"/>
                <a:gd name="connsiteX2" fmla="*/ 466484 w 494985"/>
                <a:gd name="connsiteY2" fmla="*/ 0 h 1126922"/>
                <a:gd name="connsiteX3" fmla="*/ 494985 w 494985"/>
                <a:gd name="connsiteY3" fmla="*/ 28501 h 1126922"/>
                <a:gd name="connsiteX4" fmla="*/ 494985 w 494985"/>
                <a:gd name="connsiteY4" fmla="*/ 1006985 h 1126922"/>
                <a:gd name="connsiteX5" fmla="*/ 466484 w 494985"/>
                <a:gd name="connsiteY5" fmla="*/ 1035486 h 1126922"/>
                <a:gd name="connsiteX6" fmla="*/ 364775 w 494985"/>
                <a:gd name="connsiteY6" fmla="*/ 1062739 h 1126922"/>
                <a:gd name="connsiteX7" fmla="*/ 326675 w 494985"/>
                <a:gd name="connsiteY7" fmla="*/ 1119889 h 1126922"/>
                <a:gd name="connsiteX8" fmla="*/ 212375 w 494985"/>
                <a:gd name="connsiteY8" fmla="*/ 1124651 h 1126922"/>
                <a:gd name="connsiteX9" fmla="*/ 150463 w 494985"/>
                <a:gd name="connsiteY9" fmla="*/ 1053215 h 1126922"/>
                <a:gd name="connsiteX10" fmla="*/ 28501 w 494985"/>
                <a:gd name="connsiteY10" fmla="*/ 1035486 h 1126922"/>
                <a:gd name="connsiteX11" fmla="*/ 0 w 494985"/>
                <a:gd name="connsiteY11" fmla="*/ 1006985 h 1126922"/>
                <a:gd name="connsiteX12" fmla="*/ 0 w 494985"/>
                <a:gd name="connsiteY12" fmla="*/ 28501 h 1126922"/>
                <a:gd name="connsiteX0" fmla="*/ 0 w 494985"/>
                <a:gd name="connsiteY0" fmla="*/ 28501 h 1126922"/>
                <a:gd name="connsiteX1" fmla="*/ 28501 w 494985"/>
                <a:gd name="connsiteY1" fmla="*/ 0 h 1126922"/>
                <a:gd name="connsiteX2" fmla="*/ 466484 w 494985"/>
                <a:gd name="connsiteY2" fmla="*/ 0 h 1126922"/>
                <a:gd name="connsiteX3" fmla="*/ 494985 w 494985"/>
                <a:gd name="connsiteY3" fmla="*/ 28501 h 1126922"/>
                <a:gd name="connsiteX4" fmla="*/ 494985 w 494985"/>
                <a:gd name="connsiteY4" fmla="*/ 1006985 h 1126922"/>
                <a:gd name="connsiteX5" fmla="*/ 466484 w 494985"/>
                <a:gd name="connsiteY5" fmla="*/ 1035486 h 1126922"/>
                <a:gd name="connsiteX6" fmla="*/ 364775 w 494985"/>
                <a:gd name="connsiteY6" fmla="*/ 1062739 h 1126922"/>
                <a:gd name="connsiteX7" fmla="*/ 326675 w 494985"/>
                <a:gd name="connsiteY7" fmla="*/ 1119889 h 1126922"/>
                <a:gd name="connsiteX8" fmla="*/ 212375 w 494985"/>
                <a:gd name="connsiteY8" fmla="*/ 1124651 h 1126922"/>
                <a:gd name="connsiteX9" fmla="*/ 150463 w 494985"/>
                <a:gd name="connsiteY9" fmla="*/ 1053215 h 1126922"/>
                <a:gd name="connsiteX10" fmla="*/ 28501 w 494985"/>
                <a:gd name="connsiteY10" fmla="*/ 1035486 h 1126922"/>
                <a:gd name="connsiteX11" fmla="*/ 0 w 494985"/>
                <a:gd name="connsiteY11" fmla="*/ 1006985 h 1126922"/>
                <a:gd name="connsiteX12" fmla="*/ 0 w 494985"/>
                <a:gd name="connsiteY12" fmla="*/ 28501 h 1126922"/>
                <a:gd name="connsiteX0" fmla="*/ 0 w 494985"/>
                <a:gd name="connsiteY0" fmla="*/ 28501 h 1119930"/>
                <a:gd name="connsiteX1" fmla="*/ 28501 w 494985"/>
                <a:gd name="connsiteY1" fmla="*/ 0 h 1119930"/>
                <a:gd name="connsiteX2" fmla="*/ 466484 w 494985"/>
                <a:gd name="connsiteY2" fmla="*/ 0 h 1119930"/>
                <a:gd name="connsiteX3" fmla="*/ 494985 w 494985"/>
                <a:gd name="connsiteY3" fmla="*/ 28501 h 1119930"/>
                <a:gd name="connsiteX4" fmla="*/ 494985 w 494985"/>
                <a:gd name="connsiteY4" fmla="*/ 1006985 h 1119930"/>
                <a:gd name="connsiteX5" fmla="*/ 466484 w 494985"/>
                <a:gd name="connsiteY5" fmla="*/ 1035486 h 1119930"/>
                <a:gd name="connsiteX6" fmla="*/ 364775 w 494985"/>
                <a:gd name="connsiteY6" fmla="*/ 1062739 h 1119930"/>
                <a:gd name="connsiteX7" fmla="*/ 326675 w 494985"/>
                <a:gd name="connsiteY7" fmla="*/ 1119889 h 1119930"/>
                <a:gd name="connsiteX8" fmla="*/ 150463 w 494985"/>
                <a:gd name="connsiteY8" fmla="*/ 1053215 h 1119930"/>
                <a:gd name="connsiteX9" fmla="*/ 28501 w 494985"/>
                <a:gd name="connsiteY9" fmla="*/ 1035486 h 1119930"/>
                <a:gd name="connsiteX10" fmla="*/ 0 w 494985"/>
                <a:gd name="connsiteY10" fmla="*/ 1006985 h 1119930"/>
                <a:gd name="connsiteX11" fmla="*/ 0 w 494985"/>
                <a:gd name="connsiteY11" fmla="*/ 28501 h 1119930"/>
                <a:gd name="connsiteX0" fmla="*/ 0 w 494985"/>
                <a:gd name="connsiteY0" fmla="*/ 28501 h 1120193"/>
                <a:gd name="connsiteX1" fmla="*/ 28501 w 494985"/>
                <a:gd name="connsiteY1" fmla="*/ 0 h 1120193"/>
                <a:gd name="connsiteX2" fmla="*/ 466484 w 494985"/>
                <a:gd name="connsiteY2" fmla="*/ 0 h 1120193"/>
                <a:gd name="connsiteX3" fmla="*/ 494985 w 494985"/>
                <a:gd name="connsiteY3" fmla="*/ 28501 h 1120193"/>
                <a:gd name="connsiteX4" fmla="*/ 494985 w 494985"/>
                <a:gd name="connsiteY4" fmla="*/ 1006985 h 1120193"/>
                <a:gd name="connsiteX5" fmla="*/ 466484 w 494985"/>
                <a:gd name="connsiteY5" fmla="*/ 1035486 h 1120193"/>
                <a:gd name="connsiteX6" fmla="*/ 364775 w 494985"/>
                <a:gd name="connsiteY6" fmla="*/ 1062739 h 1120193"/>
                <a:gd name="connsiteX7" fmla="*/ 326675 w 494985"/>
                <a:gd name="connsiteY7" fmla="*/ 1119889 h 1120193"/>
                <a:gd name="connsiteX8" fmla="*/ 28501 w 494985"/>
                <a:gd name="connsiteY8" fmla="*/ 1035486 h 1120193"/>
                <a:gd name="connsiteX9" fmla="*/ 0 w 494985"/>
                <a:gd name="connsiteY9" fmla="*/ 1006985 h 1120193"/>
                <a:gd name="connsiteX10" fmla="*/ 0 w 494985"/>
                <a:gd name="connsiteY10" fmla="*/ 28501 h 1120193"/>
                <a:gd name="connsiteX0" fmla="*/ 0 w 494985"/>
                <a:gd name="connsiteY0" fmla="*/ 28501 h 1062739"/>
                <a:gd name="connsiteX1" fmla="*/ 28501 w 494985"/>
                <a:gd name="connsiteY1" fmla="*/ 0 h 1062739"/>
                <a:gd name="connsiteX2" fmla="*/ 466484 w 494985"/>
                <a:gd name="connsiteY2" fmla="*/ 0 h 1062739"/>
                <a:gd name="connsiteX3" fmla="*/ 494985 w 494985"/>
                <a:gd name="connsiteY3" fmla="*/ 28501 h 1062739"/>
                <a:gd name="connsiteX4" fmla="*/ 494985 w 494985"/>
                <a:gd name="connsiteY4" fmla="*/ 1006985 h 1062739"/>
                <a:gd name="connsiteX5" fmla="*/ 466484 w 494985"/>
                <a:gd name="connsiteY5" fmla="*/ 1035486 h 1062739"/>
                <a:gd name="connsiteX6" fmla="*/ 364775 w 494985"/>
                <a:gd name="connsiteY6" fmla="*/ 1062739 h 1062739"/>
                <a:gd name="connsiteX7" fmla="*/ 28501 w 494985"/>
                <a:gd name="connsiteY7" fmla="*/ 1035486 h 1062739"/>
                <a:gd name="connsiteX8" fmla="*/ 0 w 494985"/>
                <a:gd name="connsiteY8" fmla="*/ 1006985 h 1062739"/>
                <a:gd name="connsiteX9" fmla="*/ 0 w 494985"/>
                <a:gd name="connsiteY9" fmla="*/ 28501 h 1062739"/>
                <a:gd name="connsiteX0" fmla="*/ 0 w 494985"/>
                <a:gd name="connsiteY0" fmla="*/ 28501 h 1035486"/>
                <a:gd name="connsiteX1" fmla="*/ 28501 w 494985"/>
                <a:gd name="connsiteY1" fmla="*/ 0 h 1035486"/>
                <a:gd name="connsiteX2" fmla="*/ 466484 w 494985"/>
                <a:gd name="connsiteY2" fmla="*/ 0 h 1035486"/>
                <a:gd name="connsiteX3" fmla="*/ 494985 w 494985"/>
                <a:gd name="connsiteY3" fmla="*/ 28501 h 1035486"/>
                <a:gd name="connsiteX4" fmla="*/ 494985 w 494985"/>
                <a:gd name="connsiteY4" fmla="*/ 1006985 h 1035486"/>
                <a:gd name="connsiteX5" fmla="*/ 466484 w 494985"/>
                <a:gd name="connsiteY5" fmla="*/ 1035486 h 1035486"/>
                <a:gd name="connsiteX6" fmla="*/ 28501 w 494985"/>
                <a:gd name="connsiteY6" fmla="*/ 1035486 h 1035486"/>
                <a:gd name="connsiteX7" fmla="*/ 0 w 494985"/>
                <a:gd name="connsiteY7" fmla="*/ 1006985 h 1035486"/>
                <a:gd name="connsiteX8" fmla="*/ 0 w 494985"/>
                <a:gd name="connsiteY8" fmla="*/ 28501 h 1035486"/>
                <a:gd name="connsiteX0" fmla="*/ 0 w 494985"/>
                <a:gd name="connsiteY0" fmla="*/ 28501 h 1038340"/>
                <a:gd name="connsiteX1" fmla="*/ 28501 w 494985"/>
                <a:gd name="connsiteY1" fmla="*/ 0 h 1038340"/>
                <a:gd name="connsiteX2" fmla="*/ 466484 w 494985"/>
                <a:gd name="connsiteY2" fmla="*/ 0 h 1038340"/>
                <a:gd name="connsiteX3" fmla="*/ 494985 w 494985"/>
                <a:gd name="connsiteY3" fmla="*/ 28501 h 1038340"/>
                <a:gd name="connsiteX4" fmla="*/ 494985 w 494985"/>
                <a:gd name="connsiteY4" fmla="*/ 1006985 h 1038340"/>
                <a:gd name="connsiteX5" fmla="*/ 466484 w 494985"/>
                <a:gd name="connsiteY5" fmla="*/ 1035486 h 1038340"/>
                <a:gd name="connsiteX6" fmla="*/ 153637 w 494985"/>
                <a:gd name="connsiteY6" fmla="*/ 1037339 h 1038340"/>
                <a:gd name="connsiteX7" fmla="*/ 28501 w 494985"/>
                <a:gd name="connsiteY7" fmla="*/ 1035486 h 1038340"/>
                <a:gd name="connsiteX8" fmla="*/ 0 w 494985"/>
                <a:gd name="connsiteY8" fmla="*/ 1006985 h 1038340"/>
                <a:gd name="connsiteX9" fmla="*/ 0 w 494985"/>
                <a:gd name="connsiteY9" fmla="*/ 28501 h 1038340"/>
                <a:gd name="connsiteX0" fmla="*/ 0 w 494985"/>
                <a:gd name="connsiteY0" fmla="*/ 28501 h 1038241"/>
                <a:gd name="connsiteX1" fmla="*/ 28501 w 494985"/>
                <a:gd name="connsiteY1" fmla="*/ 0 h 1038241"/>
                <a:gd name="connsiteX2" fmla="*/ 466484 w 494985"/>
                <a:gd name="connsiteY2" fmla="*/ 0 h 1038241"/>
                <a:gd name="connsiteX3" fmla="*/ 494985 w 494985"/>
                <a:gd name="connsiteY3" fmla="*/ 28501 h 1038241"/>
                <a:gd name="connsiteX4" fmla="*/ 494985 w 494985"/>
                <a:gd name="connsiteY4" fmla="*/ 1006985 h 1038241"/>
                <a:gd name="connsiteX5" fmla="*/ 466484 w 494985"/>
                <a:gd name="connsiteY5" fmla="*/ 1035486 h 1038241"/>
                <a:gd name="connsiteX6" fmla="*/ 274287 w 494985"/>
                <a:gd name="connsiteY6" fmla="*/ 1037339 h 1038241"/>
                <a:gd name="connsiteX7" fmla="*/ 153637 w 494985"/>
                <a:gd name="connsiteY7" fmla="*/ 1037339 h 1038241"/>
                <a:gd name="connsiteX8" fmla="*/ 28501 w 494985"/>
                <a:gd name="connsiteY8" fmla="*/ 1035486 h 1038241"/>
                <a:gd name="connsiteX9" fmla="*/ 0 w 494985"/>
                <a:gd name="connsiteY9" fmla="*/ 1006985 h 1038241"/>
                <a:gd name="connsiteX10" fmla="*/ 0 w 494985"/>
                <a:gd name="connsiteY10" fmla="*/ 28501 h 1038241"/>
                <a:gd name="connsiteX0" fmla="*/ 0 w 494985"/>
                <a:gd name="connsiteY0" fmla="*/ 28501 h 1038241"/>
                <a:gd name="connsiteX1" fmla="*/ 28501 w 494985"/>
                <a:gd name="connsiteY1" fmla="*/ 0 h 1038241"/>
                <a:gd name="connsiteX2" fmla="*/ 466484 w 494985"/>
                <a:gd name="connsiteY2" fmla="*/ 0 h 1038241"/>
                <a:gd name="connsiteX3" fmla="*/ 494985 w 494985"/>
                <a:gd name="connsiteY3" fmla="*/ 28501 h 1038241"/>
                <a:gd name="connsiteX4" fmla="*/ 494985 w 494985"/>
                <a:gd name="connsiteY4" fmla="*/ 1006985 h 1038241"/>
                <a:gd name="connsiteX5" fmla="*/ 466484 w 494985"/>
                <a:gd name="connsiteY5" fmla="*/ 1035486 h 1038241"/>
                <a:gd name="connsiteX6" fmla="*/ 369537 w 494985"/>
                <a:gd name="connsiteY6" fmla="*/ 1030990 h 1038241"/>
                <a:gd name="connsiteX7" fmla="*/ 274287 w 494985"/>
                <a:gd name="connsiteY7" fmla="*/ 1037339 h 1038241"/>
                <a:gd name="connsiteX8" fmla="*/ 153637 w 494985"/>
                <a:gd name="connsiteY8" fmla="*/ 1037339 h 1038241"/>
                <a:gd name="connsiteX9" fmla="*/ 28501 w 494985"/>
                <a:gd name="connsiteY9" fmla="*/ 1035486 h 1038241"/>
                <a:gd name="connsiteX10" fmla="*/ 0 w 494985"/>
                <a:gd name="connsiteY10" fmla="*/ 1006985 h 1038241"/>
                <a:gd name="connsiteX11" fmla="*/ 0 w 494985"/>
                <a:gd name="connsiteY11" fmla="*/ 28501 h 1038241"/>
                <a:gd name="connsiteX0" fmla="*/ 0 w 494985"/>
                <a:gd name="connsiteY0" fmla="*/ 28501 h 1107189"/>
                <a:gd name="connsiteX1" fmla="*/ 28501 w 494985"/>
                <a:gd name="connsiteY1" fmla="*/ 0 h 1107189"/>
                <a:gd name="connsiteX2" fmla="*/ 466484 w 494985"/>
                <a:gd name="connsiteY2" fmla="*/ 0 h 1107189"/>
                <a:gd name="connsiteX3" fmla="*/ 494985 w 494985"/>
                <a:gd name="connsiteY3" fmla="*/ 28501 h 1107189"/>
                <a:gd name="connsiteX4" fmla="*/ 494985 w 494985"/>
                <a:gd name="connsiteY4" fmla="*/ 1006985 h 1107189"/>
                <a:gd name="connsiteX5" fmla="*/ 466484 w 494985"/>
                <a:gd name="connsiteY5" fmla="*/ 1035486 h 1107189"/>
                <a:gd name="connsiteX6" fmla="*/ 369537 w 494985"/>
                <a:gd name="connsiteY6" fmla="*/ 1030990 h 1107189"/>
                <a:gd name="connsiteX7" fmla="*/ 274287 w 494985"/>
                <a:gd name="connsiteY7" fmla="*/ 1037339 h 1107189"/>
                <a:gd name="connsiteX8" fmla="*/ 159987 w 494985"/>
                <a:gd name="connsiteY8" fmla="*/ 1107189 h 1107189"/>
                <a:gd name="connsiteX9" fmla="*/ 28501 w 494985"/>
                <a:gd name="connsiteY9" fmla="*/ 1035486 h 1107189"/>
                <a:gd name="connsiteX10" fmla="*/ 0 w 494985"/>
                <a:gd name="connsiteY10" fmla="*/ 1006985 h 1107189"/>
                <a:gd name="connsiteX11" fmla="*/ 0 w 494985"/>
                <a:gd name="connsiteY11" fmla="*/ 28501 h 1107189"/>
                <a:gd name="connsiteX0" fmla="*/ 0 w 494985"/>
                <a:gd name="connsiteY0" fmla="*/ 28501 h 1107189"/>
                <a:gd name="connsiteX1" fmla="*/ 28501 w 494985"/>
                <a:gd name="connsiteY1" fmla="*/ 0 h 1107189"/>
                <a:gd name="connsiteX2" fmla="*/ 466484 w 494985"/>
                <a:gd name="connsiteY2" fmla="*/ 0 h 1107189"/>
                <a:gd name="connsiteX3" fmla="*/ 494985 w 494985"/>
                <a:gd name="connsiteY3" fmla="*/ 28501 h 1107189"/>
                <a:gd name="connsiteX4" fmla="*/ 494985 w 494985"/>
                <a:gd name="connsiteY4" fmla="*/ 1006985 h 1107189"/>
                <a:gd name="connsiteX5" fmla="*/ 466484 w 494985"/>
                <a:gd name="connsiteY5" fmla="*/ 1035486 h 1107189"/>
                <a:gd name="connsiteX6" fmla="*/ 369537 w 494985"/>
                <a:gd name="connsiteY6" fmla="*/ 1030990 h 1107189"/>
                <a:gd name="connsiteX7" fmla="*/ 274287 w 494985"/>
                <a:gd name="connsiteY7" fmla="*/ 1100839 h 1107189"/>
                <a:gd name="connsiteX8" fmla="*/ 159987 w 494985"/>
                <a:gd name="connsiteY8" fmla="*/ 1107189 h 1107189"/>
                <a:gd name="connsiteX9" fmla="*/ 28501 w 494985"/>
                <a:gd name="connsiteY9" fmla="*/ 1035486 h 1107189"/>
                <a:gd name="connsiteX10" fmla="*/ 0 w 494985"/>
                <a:gd name="connsiteY10" fmla="*/ 1006985 h 1107189"/>
                <a:gd name="connsiteX11" fmla="*/ 0 w 494985"/>
                <a:gd name="connsiteY11" fmla="*/ 28501 h 110718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274287 w 494985"/>
                <a:gd name="connsiteY7" fmla="*/ 1100839 h 1100839"/>
                <a:gd name="connsiteX8" fmla="*/ 157605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274287 w 494985"/>
                <a:gd name="connsiteY7" fmla="*/ 1100839 h 1100839"/>
                <a:gd name="connsiteX8" fmla="*/ 150461 w 494985"/>
                <a:gd name="connsiteY8" fmla="*/ 1040514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274287 w 494985"/>
                <a:gd name="connsiteY7" fmla="*/ 1100839 h 1100839"/>
                <a:gd name="connsiteX8" fmla="*/ 148080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274287 w 494985"/>
                <a:gd name="connsiteY7" fmla="*/ 1100839 h 1100839"/>
                <a:gd name="connsiteX8" fmla="*/ 148080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198087 w 494985"/>
                <a:gd name="connsiteY7" fmla="*/ 1100839 h 1100839"/>
                <a:gd name="connsiteX8" fmla="*/ 148080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9537 w 494985"/>
                <a:gd name="connsiteY6" fmla="*/ 1030990 h 1100839"/>
                <a:gd name="connsiteX7" fmla="*/ 198087 w 494985"/>
                <a:gd name="connsiteY7" fmla="*/ 1100839 h 1100839"/>
                <a:gd name="connsiteX8" fmla="*/ 148080 w 494985"/>
                <a:gd name="connsiteY8" fmla="*/ 1033370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57"/>
                <a:gd name="connsiteX1" fmla="*/ 28501 w 494985"/>
                <a:gd name="connsiteY1" fmla="*/ 0 h 1100857"/>
                <a:gd name="connsiteX2" fmla="*/ 466484 w 494985"/>
                <a:gd name="connsiteY2" fmla="*/ 0 h 1100857"/>
                <a:gd name="connsiteX3" fmla="*/ 494985 w 494985"/>
                <a:gd name="connsiteY3" fmla="*/ 28501 h 1100857"/>
                <a:gd name="connsiteX4" fmla="*/ 494985 w 494985"/>
                <a:gd name="connsiteY4" fmla="*/ 1006985 h 1100857"/>
                <a:gd name="connsiteX5" fmla="*/ 466484 w 494985"/>
                <a:gd name="connsiteY5" fmla="*/ 1035486 h 1100857"/>
                <a:gd name="connsiteX6" fmla="*/ 369537 w 494985"/>
                <a:gd name="connsiteY6" fmla="*/ 1030990 h 1100857"/>
                <a:gd name="connsiteX7" fmla="*/ 198087 w 494985"/>
                <a:gd name="connsiteY7" fmla="*/ 1100839 h 1100857"/>
                <a:gd name="connsiteX8" fmla="*/ 148080 w 494985"/>
                <a:gd name="connsiteY8" fmla="*/ 1033370 h 1100857"/>
                <a:gd name="connsiteX9" fmla="*/ 28501 w 494985"/>
                <a:gd name="connsiteY9" fmla="*/ 1035486 h 1100857"/>
                <a:gd name="connsiteX10" fmla="*/ 0 w 494985"/>
                <a:gd name="connsiteY10" fmla="*/ 1006985 h 1100857"/>
                <a:gd name="connsiteX11" fmla="*/ 0 w 494985"/>
                <a:gd name="connsiteY11" fmla="*/ 28501 h 1100857"/>
                <a:gd name="connsiteX0" fmla="*/ 0 w 494985"/>
                <a:gd name="connsiteY0" fmla="*/ 28501 h 1101187"/>
                <a:gd name="connsiteX1" fmla="*/ 28501 w 494985"/>
                <a:gd name="connsiteY1" fmla="*/ 0 h 1101187"/>
                <a:gd name="connsiteX2" fmla="*/ 466484 w 494985"/>
                <a:gd name="connsiteY2" fmla="*/ 0 h 1101187"/>
                <a:gd name="connsiteX3" fmla="*/ 494985 w 494985"/>
                <a:gd name="connsiteY3" fmla="*/ 28501 h 1101187"/>
                <a:gd name="connsiteX4" fmla="*/ 494985 w 494985"/>
                <a:gd name="connsiteY4" fmla="*/ 1006985 h 1101187"/>
                <a:gd name="connsiteX5" fmla="*/ 466484 w 494985"/>
                <a:gd name="connsiteY5" fmla="*/ 1035486 h 1101187"/>
                <a:gd name="connsiteX6" fmla="*/ 369537 w 494985"/>
                <a:gd name="connsiteY6" fmla="*/ 1030990 h 1101187"/>
                <a:gd name="connsiteX7" fmla="*/ 198087 w 494985"/>
                <a:gd name="connsiteY7" fmla="*/ 1100839 h 1101187"/>
                <a:gd name="connsiteX8" fmla="*/ 148080 w 494985"/>
                <a:gd name="connsiteY8" fmla="*/ 1033370 h 1101187"/>
                <a:gd name="connsiteX9" fmla="*/ 28501 w 494985"/>
                <a:gd name="connsiteY9" fmla="*/ 1035486 h 1101187"/>
                <a:gd name="connsiteX10" fmla="*/ 0 w 494985"/>
                <a:gd name="connsiteY10" fmla="*/ 1006985 h 1101187"/>
                <a:gd name="connsiteX11" fmla="*/ 0 w 494985"/>
                <a:gd name="connsiteY11" fmla="*/ 28501 h 1101187"/>
                <a:gd name="connsiteX0" fmla="*/ 0 w 494985"/>
                <a:gd name="connsiteY0" fmla="*/ 28501 h 1101096"/>
                <a:gd name="connsiteX1" fmla="*/ 28501 w 494985"/>
                <a:gd name="connsiteY1" fmla="*/ 0 h 1101096"/>
                <a:gd name="connsiteX2" fmla="*/ 466484 w 494985"/>
                <a:gd name="connsiteY2" fmla="*/ 0 h 1101096"/>
                <a:gd name="connsiteX3" fmla="*/ 494985 w 494985"/>
                <a:gd name="connsiteY3" fmla="*/ 28501 h 1101096"/>
                <a:gd name="connsiteX4" fmla="*/ 494985 w 494985"/>
                <a:gd name="connsiteY4" fmla="*/ 1006985 h 1101096"/>
                <a:gd name="connsiteX5" fmla="*/ 466484 w 494985"/>
                <a:gd name="connsiteY5" fmla="*/ 1035486 h 1101096"/>
                <a:gd name="connsiteX6" fmla="*/ 369537 w 494985"/>
                <a:gd name="connsiteY6" fmla="*/ 1030990 h 1101096"/>
                <a:gd name="connsiteX7" fmla="*/ 290956 w 494985"/>
                <a:gd name="connsiteY7" fmla="*/ 1055596 h 1101096"/>
                <a:gd name="connsiteX8" fmla="*/ 198087 w 494985"/>
                <a:gd name="connsiteY8" fmla="*/ 1100839 h 1101096"/>
                <a:gd name="connsiteX9" fmla="*/ 148080 w 494985"/>
                <a:gd name="connsiteY9" fmla="*/ 1033370 h 1101096"/>
                <a:gd name="connsiteX10" fmla="*/ 28501 w 494985"/>
                <a:gd name="connsiteY10" fmla="*/ 1035486 h 1101096"/>
                <a:gd name="connsiteX11" fmla="*/ 0 w 494985"/>
                <a:gd name="connsiteY11" fmla="*/ 1006985 h 1101096"/>
                <a:gd name="connsiteX12" fmla="*/ 0 w 494985"/>
                <a:gd name="connsiteY12" fmla="*/ 28501 h 1101096"/>
                <a:gd name="connsiteX0" fmla="*/ 0 w 494985"/>
                <a:gd name="connsiteY0" fmla="*/ 28501 h 1105462"/>
                <a:gd name="connsiteX1" fmla="*/ 28501 w 494985"/>
                <a:gd name="connsiteY1" fmla="*/ 0 h 1105462"/>
                <a:gd name="connsiteX2" fmla="*/ 466484 w 494985"/>
                <a:gd name="connsiteY2" fmla="*/ 0 h 1105462"/>
                <a:gd name="connsiteX3" fmla="*/ 494985 w 494985"/>
                <a:gd name="connsiteY3" fmla="*/ 28501 h 1105462"/>
                <a:gd name="connsiteX4" fmla="*/ 494985 w 494985"/>
                <a:gd name="connsiteY4" fmla="*/ 1006985 h 1105462"/>
                <a:gd name="connsiteX5" fmla="*/ 466484 w 494985"/>
                <a:gd name="connsiteY5" fmla="*/ 1035486 h 1105462"/>
                <a:gd name="connsiteX6" fmla="*/ 369537 w 494985"/>
                <a:gd name="connsiteY6" fmla="*/ 1030990 h 1105462"/>
                <a:gd name="connsiteX7" fmla="*/ 305243 w 494985"/>
                <a:gd name="connsiteY7" fmla="*/ 1098458 h 1105462"/>
                <a:gd name="connsiteX8" fmla="*/ 198087 w 494985"/>
                <a:gd name="connsiteY8" fmla="*/ 1100839 h 1105462"/>
                <a:gd name="connsiteX9" fmla="*/ 148080 w 494985"/>
                <a:gd name="connsiteY9" fmla="*/ 1033370 h 1105462"/>
                <a:gd name="connsiteX10" fmla="*/ 28501 w 494985"/>
                <a:gd name="connsiteY10" fmla="*/ 1035486 h 1105462"/>
                <a:gd name="connsiteX11" fmla="*/ 0 w 494985"/>
                <a:gd name="connsiteY11" fmla="*/ 1006985 h 1105462"/>
                <a:gd name="connsiteX12" fmla="*/ 0 w 494985"/>
                <a:gd name="connsiteY12" fmla="*/ 28501 h 1105462"/>
                <a:gd name="connsiteX0" fmla="*/ 0 w 494985"/>
                <a:gd name="connsiteY0" fmla="*/ 28501 h 1105462"/>
                <a:gd name="connsiteX1" fmla="*/ 28501 w 494985"/>
                <a:gd name="connsiteY1" fmla="*/ 0 h 1105462"/>
                <a:gd name="connsiteX2" fmla="*/ 466484 w 494985"/>
                <a:gd name="connsiteY2" fmla="*/ 0 h 1105462"/>
                <a:gd name="connsiteX3" fmla="*/ 494985 w 494985"/>
                <a:gd name="connsiteY3" fmla="*/ 28501 h 1105462"/>
                <a:gd name="connsiteX4" fmla="*/ 494985 w 494985"/>
                <a:gd name="connsiteY4" fmla="*/ 1006985 h 1105462"/>
                <a:gd name="connsiteX5" fmla="*/ 466484 w 494985"/>
                <a:gd name="connsiteY5" fmla="*/ 1035486 h 1105462"/>
                <a:gd name="connsiteX6" fmla="*/ 369537 w 494985"/>
                <a:gd name="connsiteY6" fmla="*/ 1030990 h 1105462"/>
                <a:gd name="connsiteX7" fmla="*/ 305243 w 494985"/>
                <a:gd name="connsiteY7" fmla="*/ 1098458 h 1105462"/>
                <a:gd name="connsiteX8" fmla="*/ 198087 w 494985"/>
                <a:gd name="connsiteY8" fmla="*/ 1100839 h 1105462"/>
                <a:gd name="connsiteX9" fmla="*/ 148080 w 494985"/>
                <a:gd name="connsiteY9" fmla="*/ 1033370 h 1105462"/>
                <a:gd name="connsiteX10" fmla="*/ 28501 w 494985"/>
                <a:gd name="connsiteY10" fmla="*/ 1035486 h 1105462"/>
                <a:gd name="connsiteX11" fmla="*/ 0 w 494985"/>
                <a:gd name="connsiteY11" fmla="*/ 1006985 h 1105462"/>
                <a:gd name="connsiteX12" fmla="*/ 0 w 494985"/>
                <a:gd name="connsiteY12" fmla="*/ 28501 h 110546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69537 w 494985"/>
                <a:gd name="connsiteY6" fmla="*/ 1030990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48080 w 494985"/>
                <a:gd name="connsiteY9" fmla="*/ 1033370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69537 w 494985"/>
                <a:gd name="connsiteY6" fmla="*/ 1030990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48080 w 494985"/>
                <a:gd name="connsiteY9" fmla="*/ 1033370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69537 w 494985"/>
                <a:gd name="connsiteY6" fmla="*/ 1030990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69537 w 494985"/>
                <a:gd name="connsiteY6" fmla="*/ 1030990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71918 w 494985"/>
                <a:gd name="connsiteY6" fmla="*/ 1041471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71918 w 494985"/>
                <a:gd name="connsiteY6" fmla="*/ 1041471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2002"/>
                <a:gd name="connsiteX1" fmla="*/ 28501 w 494985"/>
                <a:gd name="connsiteY1" fmla="*/ 0 h 1102002"/>
                <a:gd name="connsiteX2" fmla="*/ 466484 w 494985"/>
                <a:gd name="connsiteY2" fmla="*/ 0 h 1102002"/>
                <a:gd name="connsiteX3" fmla="*/ 494985 w 494985"/>
                <a:gd name="connsiteY3" fmla="*/ 28501 h 1102002"/>
                <a:gd name="connsiteX4" fmla="*/ 494985 w 494985"/>
                <a:gd name="connsiteY4" fmla="*/ 1006985 h 1102002"/>
                <a:gd name="connsiteX5" fmla="*/ 466484 w 494985"/>
                <a:gd name="connsiteY5" fmla="*/ 1035486 h 1102002"/>
                <a:gd name="connsiteX6" fmla="*/ 371918 w 494985"/>
                <a:gd name="connsiteY6" fmla="*/ 1041471 h 1102002"/>
                <a:gd name="connsiteX7" fmla="*/ 305243 w 494985"/>
                <a:gd name="connsiteY7" fmla="*/ 1098458 h 1102002"/>
                <a:gd name="connsiteX8" fmla="*/ 198087 w 494985"/>
                <a:gd name="connsiteY8" fmla="*/ 1100839 h 1102002"/>
                <a:gd name="connsiteX9" fmla="*/ 150462 w 494985"/>
                <a:gd name="connsiteY9" fmla="*/ 1038611 h 1102002"/>
                <a:gd name="connsiteX10" fmla="*/ 28501 w 494985"/>
                <a:gd name="connsiteY10" fmla="*/ 1035486 h 1102002"/>
                <a:gd name="connsiteX11" fmla="*/ 0 w 494985"/>
                <a:gd name="connsiteY11" fmla="*/ 1006985 h 1102002"/>
                <a:gd name="connsiteX12" fmla="*/ 0 w 494985"/>
                <a:gd name="connsiteY12" fmla="*/ 28501 h 1102002"/>
                <a:gd name="connsiteX0" fmla="*/ 0 w 494985"/>
                <a:gd name="connsiteY0" fmla="*/ 28501 h 1106321"/>
                <a:gd name="connsiteX1" fmla="*/ 28501 w 494985"/>
                <a:gd name="connsiteY1" fmla="*/ 0 h 1106321"/>
                <a:gd name="connsiteX2" fmla="*/ 466484 w 494985"/>
                <a:gd name="connsiteY2" fmla="*/ 0 h 1106321"/>
                <a:gd name="connsiteX3" fmla="*/ 494985 w 494985"/>
                <a:gd name="connsiteY3" fmla="*/ 28501 h 1106321"/>
                <a:gd name="connsiteX4" fmla="*/ 494985 w 494985"/>
                <a:gd name="connsiteY4" fmla="*/ 1006985 h 1106321"/>
                <a:gd name="connsiteX5" fmla="*/ 466484 w 494985"/>
                <a:gd name="connsiteY5" fmla="*/ 1035486 h 1106321"/>
                <a:gd name="connsiteX6" fmla="*/ 371918 w 494985"/>
                <a:gd name="connsiteY6" fmla="*/ 1041471 h 1106321"/>
                <a:gd name="connsiteX7" fmla="*/ 305243 w 494985"/>
                <a:gd name="connsiteY7" fmla="*/ 1106317 h 1106321"/>
                <a:gd name="connsiteX8" fmla="*/ 198087 w 494985"/>
                <a:gd name="connsiteY8" fmla="*/ 1100839 h 1106321"/>
                <a:gd name="connsiteX9" fmla="*/ 150462 w 494985"/>
                <a:gd name="connsiteY9" fmla="*/ 1038611 h 1106321"/>
                <a:gd name="connsiteX10" fmla="*/ 28501 w 494985"/>
                <a:gd name="connsiteY10" fmla="*/ 1035486 h 1106321"/>
                <a:gd name="connsiteX11" fmla="*/ 0 w 494985"/>
                <a:gd name="connsiteY11" fmla="*/ 1006985 h 1106321"/>
                <a:gd name="connsiteX12" fmla="*/ 0 w 494985"/>
                <a:gd name="connsiteY12" fmla="*/ 28501 h 1106321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0462 w 494985"/>
                <a:gd name="connsiteY9" fmla="*/ 103861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79037 w 494985"/>
                <a:gd name="connsiteY9" fmla="*/ 103599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83799 w 494985"/>
                <a:gd name="connsiteY9" fmla="*/ 104647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83799 w 494985"/>
                <a:gd name="connsiteY9" fmla="*/ 104647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83799 w 494985"/>
                <a:gd name="connsiteY9" fmla="*/ 1046471 h 1102488"/>
                <a:gd name="connsiteX10" fmla="*/ 153278 w 494985"/>
                <a:gd name="connsiteY10" fmla="*/ 1037850 h 1102488"/>
                <a:gd name="connsiteX11" fmla="*/ 28501 w 494985"/>
                <a:gd name="connsiteY11" fmla="*/ 1035486 h 1102488"/>
                <a:gd name="connsiteX12" fmla="*/ 0 w 494985"/>
                <a:gd name="connsiteY12" fmla="*/ 1006985 h 1102488"/>
                <a:gd name="connsiteX13" fmla="*/ 0 w 494985"/>
                <a:gd name="connsiteY13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3278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29465 w 494985"/>
                <a:gd name="connsiteY9" fmla="*/ 104309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29465 w 494985"/>
                <a:gd name="connsiteY9" fmla="*/ 1043091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3654"/>
                <a:gd name="connsiteX1" fmla="*/ 28501 w 494985"/>
                <a:gd name="connsiteY1" fmla="*/ 0 h 1103654"/>
                <a:gd name="connsiteX2" fmla="*/ 466484 w 494985"/>
                <a:gd name="connsiteY2" fmla="*/ 0 h 1103654"/>
                <a:gd name="connsiteX3" fmla="*/ 494985 w 494985"/>
                <a:gd name="connsiteY3" fmla="*/ 28501 h 1103654"/>
                <a:gd name="connsiteX4" fmla="*/ 494985 w 494985"/>
                <a:gd name="connsiteY4" fmla="*/ 1006985 h 1103654"/>
                <a:gd name="connsiteX5" fmla="*/ 466484 w 494985"/>
                <a:gd name="connsiteY5" fmla="*/ 1035486 h 1103654"/>
                <a:gd name="connsiteX6" fmla="*/ 371918 w 494985"/>
                <a:gd name="connsiteY6" fmla="*/ 1041471 h 1103654"/>
                <a:gd name="connsiteX7" fmla="*/ 307624 w 494985"/>
                <a:gd name="connsiteY7" fmla="*/ 1101077 h 1103654"/>
                <a:gd name="connsiteX8" fmla="*/ 198087 w 494985"/>
                <a:gd name="connsiteY8" fmla="*/ 1100839 h 1103654"/>
                <a:gd name="connsiteX9" fmla="*/ 136609 w 494985"/>
                <a:gd name="connsiteY9" fmla="*/ 1037850 h 1103654"/>
                <a:gd name="connsiteX10" fmla="*/ 28501 w 494985"/>
                <a:gd name="connsiteY10" fmla="*/ 1035486 h 1103654"/>
                <a:gd name="connsiteX11" fmla="*/ 0 w 494985"/>
                <a:gd name="connsiteY11" fmla="*/ 1006985 h 1103654"/>
                <a:gd name="connsiteX12" fmla="*/ 0 w 494985"/>
                <a:gd name="connsiteY12" fmla="*/ 28501 h 1103654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36609 w 494985"/>
                <a:gd name="connsiteY9" fmla="*/ 1037850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8041 w 494985"/>
                <a:gd name="connsiteY9" fmla="*/ 1035229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8041 w 494985"/>
                <a:gd name="connsiteY9" fmla="*/ 1035229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8041 w 494985"/>
                <a:gd name="connsiteY9" fmla="*/ 1035229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2488"/>
                <a:gd name="connsiteX1" fmla="*/ 28501 w 494985"/>
                <a:gd name="connsiteY1" fmla="*/ 0 h 1102488"/>
                <a:gd name="connsiteX2" fmla="*/ 466484 w 494985"/>
                <a:gd name="connsiteY2" fmla="*/ 0 h 1102488"/>
                <a:gd name="connsiteX3" fmla="*/ 494985 w 494985"/>
                <a:gd name="connsiteY3" fmla="*/ 28501 h 1102488"/>
                <a:gd name="connsiteX4" fmla="*/ 494985 w 494985"/>
                <a:gd name="connsiteY4" fmla="*/ 1006985 h 1102488"/>
                <a:gd name="connsiteX5" fmla="*/ 466484 w 494985"/>
                <a:gd name="connsiteY5" fmla="*/ 1035486 h 1102488"/>
                <a:gd name="connsiteX6" fmla="*/ 371918 w 494985"/>
                <a:gd name="connsiteY6" fmla="*/ 1041471 h 1102488"/>
                <a:gd name="connsiteX7" fmla="*/ 307624 w 494985"/>
                <a:gd name="connsiteY7" fmla="*/ 1101077 h 1102488"/>
                <a:gd name="connsiteX8" fmla="*/ 198087 w 494985"/>
                <a:gd name="connsiteY8" fmla="*/ 1100839 h 1102488"/>
                <a:gd name="connsiteX9" fmla="*/ 158041 w 494985"/>
                <a:gd name="connsiteY9" fmla="*/ 1035229 h 1102488"/>
                <a:gd name="connsiteX10" fmla="*/ 28501 w 494985"/>
                <a:gd name="connsiteY10" fmla="*/ 1035486 h 1102488"/>
                <a:gd name="connsiteX11" fmla="*/ 0 w 494985"/>
                <a:gd name="connsiteY11" fmla="*/ 1006985 h 1102488"/>
                <a:gd name="connsiteX12" fmla="*/ 0 w 494985"/>
                <a:gd name="connsiteY12" fmla="*/ 28501 h 1102488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1324"/>
                <a:gd name="connsiteX1" fmla="*/ 28501 w 494985"/>
                <a:gd name="connsiteY1" fmla="*/ 0 h 1101324"/>
                <a:gd name="connsiteX2" fmla="*/ 466484 w 494985"/>
                <a:gd name="connsiteY2" fmla="*/ 0 h 1101324"/>
                <a:gd name="connsiteX3" fmla="*/ 494985 w 494985"/>
                <a:gd name="connsiteY3" fmla="*/ 28501 h 1101324"/>
                <a:gd name="connsiteX4" fmla="*/ 494985 w 494985"/>
                <a:gd name="connsiteY4" fmla="*/ 1006985 h 1101324"/>
                <a:gd name="connsiteX5" fmla="*/ 466484 w 494985"/>
                <a:gd name="connsiteY5" fmla="*/ 1035486 h 1101324"/>
                <a:gd name="connsiteX6" fmla="*/ 371918 w 494985"/>
                <a:gd name="connsiteY6" fmla="*/ 1041471 h 1101324"/>
                <a:gd name="connsiteX7" fmla="*/ 307624 w 494985"/>
                <a:gd name="connsiteY7" fmla="*/ 1101077 h 1101324"/>
                <a:gd name="connsiteX8" fmla="*/ 198087 w 494985"/>
                <a:gd name="connsiteY8" fmla="*/ 1100839 h 1101324"/>
                <a:gd name="connsiteX9" fmla="*/ 158041 w 494985"/>
                <a:gd name="connsiteY9" fmla="*/ 1035229 h 1101324"/>
                <a:gd name="connsiteX10" fmla="*/ 28501 w 494985"/>
                <a:gd name="connsiteY10" fmla="*/ 1035486 h 1101324"/>
                <a:gd name="connsiteX11" fmla="*/ 0 w 494985"/>
                <a:gd name="connsiteY11" fmla="*/ 1006985 h 1101324"/>
                <a:gd name="connsiteX12" fmla="*/ 0 w 494985"/>
                <a:gd name="connsiteY12" fmla="*/ 28501 h 1101324"/>
                <a:gd name="connsiteX0" fmla="*/ 0 w 494985"/>
                <a:gd name="connsiteY0" fmla="*/ 28501 h 1106240"/>
                <a:gd name="connsiteX1" fmla="*/ 28501 w 494985"/>
                <a:gd name="connsiteY1" fmla="*/ 0 h 1106240"/>
                <a:gd name="connsiteX2" fmla="*/ 466484 w 494985"/>
                <a:gd name="connsiteY2" fmla="*/ 0 h 1106240"/>
                <a:gd name="connsiteX3" fmla="*/ 494985 w 494985"/>
                <a:gd name="connsiteY3" fmla="*/ 28501 h 1106240"/>
                <a:gd name="connsiteX4" fmla="*/ 494985 w 494985"/>
                <a:gd name="connsiteY4" fmla="*/ 1006985 h 1106240"/>
                <a:gd name="connsiteX5" fmla="*/ 466484 w 494985"/>
                <a:gd name="connsiteY5" fmla="*/ 1035486 h 1106240"/>
                <a:gd name="connsiteX6" fmla="*/ 369537 w 494985"/>
                <a:gd name="connsiteY6" fmla="*/ 1033611 h 1106240"/>
                <a:gd name="connsiteX7" fmla="*/ 307624 w 494985"/>
                <a:gd name="connsiteY7" fmla="*/ 1101077 h 1106240"/>
                <a:gd name="connsiteX8" fmla="*/ 198087 w 494985"/>
                <a:gd name="connsiteY8" fmla="*/ 1100839 h 1106240"/>
                <a:gd name="connsiteX9" fmla="*/ 158041 w 494985"/>
                <a:gd name="connsiteY9" fmla="*/ 1035229 h 1106240"/>
                <a:gd name="connsiteX10" fmla="*/ 28501 w 494985"/>
                <a:gd name="connsiteY10" fmla="*/ 1035486 h 1106240"/>
                <a:gd name="connsiteX11" fmla="*/ 0 w 494985"/>
                <a:gd name="connsiteY11" fmla="*/ 1006985 h 1106240"/>
                <a:gd name="connsiteX12" fmla="*/ 0 w 494985"/>
                <a:gd name="connsiteY12" fmla="*/ 28501 h 1106240"/>
                <a:gd name="connsiteX0" fmla="*/ 0 w 494985"/>
                <a:gd name="connsiteY0" fmla="*/ 28501 h 1105659"/>
                <a:gd name="connsiteX1" fmla="*/ 28501 w 494985"/>
                <a:gd name="connsiteY1" fmla="*/ 0 h 1105659"/>
                <a:gd name="connsiteX2" fmla="*/ 466484 w 494985"/>
                <a:gd name="connsiteY2" fmla="*/ 0 h 1105659"/>
                <a:gd name="connsiteX3" fmla="*/ 494985 w 494985"/>
                <a:gd name="connsiteY3" fmla="*/ 28501 h 1105659"/>
                <a:gd name="connsiteX4" fmla="*/ 494985 w 494985"/>
                <a:gd name="connsiteY4" fmla="*/ 1006985 h 1105659"/>
                <a:gd name="connsiteX5" fmla="*/ 466484 w 494985"/>
                <a:gd name="connsiteY5" fmla="*/ 1035486 h 1105659"/>
                <a:gd name="connsiteX6" fmla="*/ 371918 w 494985"/>
                <a:gd name="connsiteY6" fmla="*/ 1041470 h 1105659"/>
                <a:gd name="connsiteX7" fmla="*/ 307624 w 494985"/>
                <a:gd name="connsiteY7" fmla="*/ 1101077 h 1105659"/>
                <a:gd name="connsiteX8" fmla="*/ 198087 w 494985"/>
                <a:gd name="connsiteY8" fmla="*/ 1100839 h 1105659"/>
                <a:gd name="connsiteX9" fmla="*/ 158041 w 494985"/>
                <a:gd name="connsiteY9" fmla="*/ 1035229 h 1105659"/>
                <a:gd name="connsiteX10" fmla="*/ 28501 w 494985"/>
                <a:gd name="connsiteY10" fmla="*/ 1035486 h 1105659"/>
                <a:gd name="connsiteX11" fmla="*/ 0 w 494985"/>
                <a:gd name="connsiteY11" fmla="*/ 1006985 h 1105659"/>
                <a:gd name="connsiteX12" fmla="*/ 0 w 494985"/>
                <a:gd name="connsiteY12" fmla="*/ 28501 h 1105659"/>
                <a:gd name="connsiteX0" fmla="*/ 0 w 494985"/>
                <a:gd name="connsiteY0" fmla="*/ 28501 h 1106046"/>
                <a:gd name="connsiteX1" fmla="*/ 28501 w 494985"/>
                <a:gd name="connsiteY1" fmla="*/ 0 h 1106046"/>
                <a:gd name="connsiteX2" fmla="*/ 466484 w 494985"/>
                <a:gd name="connsiteY2" fmla="*/ 0 h 1106046"/>
                <a:gd name="connsiteX3" fmla="*/ 494985 w 494985"/>
                <a:gd name="connsiteY3" fmla="*/ 28501 h 1106046"/>
                <a:gd name="connsiteX4" fmla="*/ 494985 w 494985"/>
                <a:gd name="connsiteY4" fmla="*/ 1006985 h 1106046"/>
                <a:gd name="connsiteX5" fmla="*/ 466484 w 494985"/>
                <a:gd name="connsiteY5" fmla="*/ 1035486 h 1106046"/>
                <a:gd name="connsiteX6" fmla="*/ 364775 w 494985"/>
                <a:gd name="connsiteY6" fmla="*/ 1036230 h 1106046"/>
                <a:gd name="connsiteX7" fmla="*/ 307624 w 494985"/>
                <a:gd name="connsiteY7" fmla="*/ 1101077 h 1106046"/>
                <a:gd name="connsiteX8" fmla="*/ 198087 w 494985"/>
                <a:gd name="connsiteY8" fmla="*/ 1100839 h 1106046"/>
                <a:gd name="connsiteX9" fmla="*/ 158041 w 494985"/>
                <a:gd name="connsiteY9" fmla="*/ 1035229 h 1106046"/>
                <a:gd name="connsiteX10" fmla="*/ 28501 w 494985"/>
                <a:gd name="connsiteY10" fmla="*/ 1035486 h 1106046"/>
                <a:gd name="connsiteX11" fmla="*/ 0 w 494985"/>
                <a:gd name="connsiteY11" fmla="*/ 1006985 h 1106046"/>
                <a:gd name="connsiteX12" fmla="*/ 0 w 494985"/>
                <a:gd name="connsiteY12" fmla="*/ 28501 h 1106046"/>
                <a:gd name="connsiteX0" fmla="*/ 0 w 494985"/>
                <a:gd name="connsiteY0" fmla="*/ 28501 h 1106046"/>
                <a:gd name="connsiteX1" fmla="*/ 28501 w 494985"/>
                <a:gd name="connsiteY1" fmla="*/ 0 h 1106046"/>
                <a:gd name="connsiteX2" fmla="*/ 466484 w 494985"/>
                <a:gd name="connsiteY2" fmla="*/ 0 h 1106046"/>
                <a:gd name="connsiteX3" fmla="*/ 494985 w 494985"/>
                <a:gd name="connsiteY3" fmla="*/ 28501 h 1106046"/>
                <a:gd name="connsiteX4" fmla="*/ 494985 w 494985"/>
                <a:gd name="connsiteY4" fmla="*/ 1006985 h 1106046"/>
                <a:gd name="connsiteX5" fmla="*/ 466484 w 494985"/>
                <a:gd name="connsiteY5" fmla="*/ 1035486 h 1106046"/>
                <a:gd name="connsiteX6" fmla="*/ 364775 w 494985"/>
                <a:gd name="connsiteY6" fmla="*/ 1036230 h 1106046"/>
                <a:gd name="connsiteX7" fmla="*/ 307624 w 494985"/>
                <a:gd name="connsiteY7" fmla="*/ 1101077 h 1106046"/>
                <a:gd name="connsiteX8" fmla="*/ 198087 w 494985"/>
                <a:gd name="connsiteY8" fmla="*/ 1100839 h 1106046"/>
                <a:gd name="connsiteX9" fmla="*/ 158041 w 494985"/>
                <a:gd name="connsiteY9" fmla="*/ 1035229 h 1106046"/>
                <a:gd name="connsiteX10" fmla="*/ 28501 w 494985"/>
                <a:gd name="connsiteY10" fmla="*/ 1035486 h 1106046"/>
                <a:gd name="connsiteX11" fmla="*/ 0 w 494985"/>
                <a:gd name="connsiteY11" fmla="*/ 1006985 h 1106046"/>
                <a:gd name="connsiteX12" fmla="*/ 0 w 494985"/>
                <a:gd name="connsiteY12" fmla="*/ 28501 h 1106046"/>
                <a:gd name="connsiteX0" fmla="*/ 0 w 494985"/>
                <a:gd name="connsiteY0" fmla="*/ 28501 h 1104264"/>
                <a:gd name="connsiteX1" fmla="*/ 28501 w 494985"/>
                <a:gd name="connsiteY1" fmla="*/ 0 h 1104264"/>
                <a:gd name="connsiteX2" fmla="*/ 466484 w 494985"/>
                <a:gd name="connsiteY2" fmla="*/ 0 h 1104264"/>
                <a:gd name="connsiteX3" fmla="*/ 494985 w 494985"/>
                <a:gd name="connsiteY3" fmla="*/ 28501 h 1104264"/>
                <a:gd name="connsiteX4" fmla="*/ 494985 w 494985"/>
                <a:gd name="connsiteY4" fmla="*/ 1006985 h 1104264"/>
                <a:gd name="connsiteX5" fmla="*/ 466484 w 494985"/>
                <a:gd name="connsiteY5" fmla="*/ 1035486 h 1104264"/>
                <a:gd name="connsiteX6" fmla="*/ 364775 w 494985"/>
                <a:gd name="connsiteY6" fmla="*/ 1036230 h 1104264"/>
                <a:gd name="connsiteX7" fmla="*/ 312387 w 494985"/>
                <a:gd name="connsiteY7" fmla="*/ 1098457 h 1104264"/>
                <a:gd name="connsiteX8" fmla="*/ 198087 w 494985"/>
                <a:gd name="connsiteY8" fmla="*/ 1100839 h 1104264"/>
                <a:gd name="connsiteX9" fmla="*/ 158041 w 494985"/>
                <a:gd name="connsiteY9" fmla="*/ 1035229 h 1104264"/>
                <a:gd name="connsiteX10" fmla="*/ 28501 w 494985"/>
                <a:gd name="connsiteY10" fmla="*/ 1035486 h 1104264"/>
                <a:gd name="connsiteX11" fmla="*/ 0 w 494985"/>
                <a:gd name="connsiteY11" fmla="*/ 1006985 h 1104264"/>
                <a:gd name="connsiteX12" fmla="*/ 0 w 494985"/>
                <a:gd name="connsiteY12" fmla="*/ 28501 h 1104264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4775 w 494985"/>
                <a:gd name="connsiteY6" fmla="*/ 1036230 h 1100839"/>
                <a:gd name="connsiteX7" fmla="*/ 312387 w 494985"/>
                <a:gd name="connsiteY7" fmla="*/ 1098457 h 1100839"/>
                <a:gd name="connsiteX8" fmla="*/ 198087 w 494985"/>
                <a:gd name="connsiteY8" fmla="*/ 1100839 h 1100839"/>
                <a:gd name="connsiteX9" fmla="*/ 158041 w 494985"/>
                <a:gd name="connsiteY9" fmla="*/ 1035229 h 1100839"/>
                <a:gd name="connsiteX10" fmla="*/ 28501 w 494985"/>
                <a:gd name="connsiteY10" fmla="*/ 1035486 h 1100839"/>
                <a:gd name="connsiteX11" fmla="*/ 0 w 494985"/>
                <a:gd name="connsiteY11" fmla="*/ 1006985 h 1100839"/>
                <a:gd name="connsiteX12" fmla="*/ 0 w 494985"/>
                <a:gd name="connsiteY12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4775 w 494985"/>
                <a:gd name="connsiteY6" fmla="*/ 1036230 h 1100839"/>
                <a:gd name="connsiteX7" fmla="*/ 198087 w 494985"/>
                <a:gd name="connsiteY7" fmla="*/ 1100839 h 1100839"/>
                <a:gd name="connsiteX8" fmla="*/ 158041 w 494985"/>
                <a:gd name="connsiteY8" fmla="*/ 1035229 h 1100839"/>
                <a:gd name="connsiteX9" fmla="*/ 28501 w 494985"/>
                <a:gd name="connsiteY9" fmla="*/ 1035486 h 1100839"/>
                <a:gd name="connsiteX10" fmla="*/ 0 w 494985"/>
                <a:gd name="connsiteY10" fmla="*/ 1006985 h 1100839"/>
                <a:gd name="connsiteX11" fmla="*/ 0 w 494985"/>
                <a:gd name="connsiteY11" fmla="*/ 28501 h 1100839"/>
                <a:gd name="connsiteX0" fmla="*/ 0 w 494985"/>
                <a:gd name="connsiteY0" fmla="*/ 28501 h 1100839"/>
                <a:gd name="connsiteX1" fmla="*/ 28501 w 494985"/>
                <a:gd name="connsiteY1" fmla="*/ 0 h 1100839"/>
                <a:gd name="connsiteX2" fmla="*/ 466484 w 494985"/>
                <a:gd name="connsiteY2" fmla="*/ 0 h 1100839"/>
                <a:gd name="connsiteX3" fmla="*/ 494985 w 494985"/>
                <a:gd name="connsiteY3" fmla="*/ 28501 h 1100839"/>
                <a:gd name="connsiteX4" fmla="*/ 494985 w 494985"/>
                <a:gd name="connsiteY4" fmla="*/ 1006985 h 1100839"/>
                <a:gd name="connsiteX5" fmla="*/ 466484 w 494985"/>
                <a:gd name="connsiteY5" fmla="*/ 1035486 h 1100839"/>
                <a:gd name="connsiteX6" fmla="*/ 364775 w 494985"/>
                <a:gd name="connsiteY6" fmla="*/ 1036230 h 1100839"/>
                <a:gd name="connsiteX7" fmla="*/ 289009 w 494985"/>
                <a:gd name="connsiteY7" fmla="*/ 1064051 h 1100839"/>
                <a:gd name="connsiteX8" fmla="*/ 198087 w 494985"/>
                <a:gd name="connsiteY8" fmla="*/ 1100839 h 1100839"/>
                <a:gd name="connsiteX9" fmla="*/ 158041 w 494985"/>
                <a:gd name="connsiteY9" fmla="*/ 1035229 h 1100839"/>
                <a:gd name="connsiteX10" fmla="*/ 28501 w 494985"/>
                <a:gd name="connsiteY10" fmla="*/ 1035486 h 1100839"/>
                <a:gd name="connsiteX11" fmla="*/ 0 w 494985"/>
                <a:gd name="connsiteY11" fmla="*/ 1006985 h 1100839"/>
                <a:gd name="connsiteX12" fmla="*/ 0 w 494985"/>
                <a:gd name="connsiteY12" fmla="*/ 28501 h 1100839"/>
                <a:gd name="connsiteX0" fmla="*/ 0 w 494985"/>
                <a:gd name="connsiteY0" fmla="*/ 28501 h 1103352"/>
                <a:gd name="connsiteX1" fmla="*/ 28501 w 494985"/>
                <a:gd name="connsiteY1" fmla="*/ 0 h 1103352"/>
                <a:gd name="connsiteX2" fmla="*/ 466484 w 494985"/>
                <a:gd name="connsiteY2" fmla="*/ 0 h 1103352"/>
                <a:gd name="connsiteX3" fmla="*/ 494985 w 494985"/>
                <a:gd name="connsiteY3" fmla="*/ 28501 h 1103352"/>
                <a:gd name="connsiteX4" fmla="*/ 494985 w 494985"/>
                <a:gd name="connsiteY4" fmla="*/ 1006985 h 1103352"/>
                <a:gd name="connsiteX5" fmla="*/ 466484 w 494985"/>
                <a:gd name="connsiteY5" fmla="*/ 1035486 h 1103352"/>
                <a:gd name="connsiteX6" fmla="*/ 364775 w 494985"/>
                <a:gd name="connsiteY6" fmla="*/ 1036230 h 1103352"/>
                <a:gd name="connsiteX7" fmla="*/ 291390 w 494985"/>
                <a:gd name="connsiteY7" fmla="*/ 1103352 h 1103352"/>
                <a:gd name="connsiteX8" fmla="*/ 198087 w 494985"/>
                <a:gd name="connsiteY8" fmla="*/ 1100839 h 1103352"/>
                <a:gd name="connsiteX9" fmla="*/ 158041 w 494985"/>
                <a:gd name="connsiteY9" fmla="*/ 1035229 h 1103352"/>
                <a:gd name="connsiteX10" fmla="*/ 28501 w 494985"/>
                <a:gd name="connsiteY10" fmla="*/ 1035486 h 1103352"/>
                <a:gd name="connsiteX11" fmla="*/ 0 w 494985"/>
                <a:gd name="connsiteY11" fmla="*/ 1006985 h 1103352"/>
                <a:gd name="connsiteX12" fmla="*/ 0 w 494985"/>
                <a:gd name="connsiteY12" fmla="*/ 28501 h 1103352"/>
                <a:gd name="connsiteX0" fmla="*/ 0 w 494985"/>
                <a:gd name="connsiteY0" fmla="*/ 28501 h 1103352"/>
                <a:gd name="connsiteX1" fmla="*/ 28501 w 494985"/>
                <a:gd name="connsiteY1" fmla="*/ 0 h 1103352"/>
                <a:gd name="connsiteX2" fmla="*/ 466484 w 494985"/>
                <a:gd name="connsiteY2" fmla="*/ 0 h 1103352"/>
                <a:gd name="connsiteX3" fmla="*/ 494985 w 494985"/>
                <a:gd name="connsiteY3" fmla="*/ 28501 h 1103352"/>
                <a:gd name="connsiteX4" fmla="*/ 494985 w 494985"/>
                <a:gd name="connsiteY4" fmla="*/ 1006985 h 1103352"/>
                <a:gd name="connsiteX5" fmla="*/ 466484 w 494985"/>
                <a:gd name="connsiteY5" fmla="*/ 1035486 h 1103352"/>
                <a:gd name="connsiteX6" fmla="*/ 352869 w 494985"/>
                <a:gd name="connsiteY6" fmla="*/ 1036230 h 1103352"/>
                <a:gd name="connsiteX7" fmla="*/ 291390 w 494985"/>
                <a:gd name="connsiteY7" fmla="*/ 1103352 h 1103352"/>
                <a:gd name="connsiteX8" fmla="*/ 198087 w 494985"/>
                <a:gd name="connsiteY8" fmla="*/ 1100839 h 1103352"/>
                <a:gd name="connsiteX9" fmla="*/ 158041 w 494985"/>
                <a:gd name="connsiteY9" fmla="*/ 1035229 h 1103352"/>
                <a:gd name="connsiteX10" fmla="*/ 28501 w 494985"/>
                <a:gd name="connsiteY10" fmla="*/ 1035486 h 1103352"/>
                <a:gd name="connsiteX11" fmla="*/ 0 w 494985"/>
                <a:gd name="connsiteY11" fmla="*/ 1006985 h 1103352"/>
                <a:gd name="connsiteX12" fmla="*/ 0 w 494985"/>
                <a:gd name="connsiteY12" fmla="*/ 28501 h 1103352"/>
                <a:gd name="connsiteX0" fmla="*/ 0 w 494985"/>
                <a:gd name="connsiteY0" fmla="*/ 28501 h 1103352"/>
                <a:gd name="connsiteX1" fmla="*/ 28501 w 494985"/>
                <a:gd name="connsiteY1" fmla="*/ 0 h 1103352"/>
                <a:gd name="connsiteX2" fmla="*/ 466484 w 494985"/>
                <a:gd name="connsiteY2" fmla="*/ 0 h 1103352"/>
                <a:gd name="connsiteX3" fmla="*/ 494985 w 494985"/>
                <a:gd name="connsiteY3" fmla="*/ 28501 h 1103352"/>
                <a:gd name="connsiteX4" fmla="*/ 494985 w 494985"/>
                <a:gd name="connsiteY4" fmla="*/ 1006985 h 1103352"/>
                <a:gd name="connsiteX5" fmla="*/ 466484 w 494985"/>
                <a:gd name="connsiteY5" fmla="*/ 1035486 h 1103352"/>
                <a:gd name="connsiteX6" fmla="*/ 340962 w 494985"/>
                <a:gd name="connsiteY6" fmla="*/ 1036230 h 1103352"/>
                <a:gd name="connsiteX7" fmla="*/ 291390 w 494985"/>
                <a:gd name="connsiteY7" fmla="*/ 1103352 h 1103352"/>
                <a:gd name="connsiteX8" fmla="*/ 198087 w 494985"/>
                <a:gd name="connsiteY8" fmla="*/ 1100839 h 1103352"/>
                <a:gd name="connsiteX9" fmla="*/ 158041 w 494985"/>
                <a:gd name="connsiteY9" fmla="*/ 1035229 h 1103352"/>
                <a:gd name="connsiteX10" fmla="*/ 28501 w 494985"/>
                <a:gd name="connsiteY10" fmla="*/ 1035486 h 1103352"/>
                <a:gd name="connsiteX11" fmla="*/ 0 w 494985"/>
                <a:gd name="connsiteY11" fmla="*/ 1006985 h 1103352"/>
                <a:gd name="connsiteX12" fmla="*/ 0 w 494985"/>
                <a:gd name="connsiteY12" fmla="*/ 28501 h 1103352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1390 w 494985"/>
                <a:gd name="connsiteY7" fmla="*/ 1103352 h 1108699"/>
                <a:gd name="connsiteX8" fmla="*/ 200469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1390 w 494985"/>
                <a:gd name="connsiteY7" fmla="*/ 1103352 h 1108699"/>
                <a:gd name="connsiteX8" fmla="*/ 200469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1390 w 494985"/>
                <a:gd name="connsiteY7" fmla="*/ 1103352 h 1108699"/>
                <a:gd name="connsiteX8" fmla="*/ 200469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13832"/>
                <a:gd name="connsiteX1" fmla="*/ 28501 w 494985"/>
                <a:gd name="connsiteY1" fmla="*/ 0 h 1113832"/>
                <a:gd name="connsiteX2" fmla="*/ 466484 w 494985"/>
                <a:gd name="connsiteY2" fmla="*/ 0 h 1113832"/>
                <a:gd name="connsiteX3" fmla="*/ 494985 w 494985"/>
                <a:gd name="connsiteY3" fmla="*/ 28501 h 1113832"/>
                <a:gd name="connsiteX4" fmla="*/ 494985 w 494985"/>
                <a:gd name="connsiteY4" fmla="*/ 1006985 h 1113832"/>
                <a:gd name="connsiteX5" fmla="*/ 466484 w 494985"/>
                <a:gd name="connsiteY5" fmla="*/ 1035486 h 1113832"/>
                <a:gd name="connsiteX6" fmla="*/ 340962 w 494985"/>
                <a:gd name="connsiteY6" fmla="*/ 1036230 h 1113832"/>
                <a:gd name="connsiteX7" fmla="*/ 293772 w 494985"/>
                <a:gd name="connsiteY7" fmla="*/ 1113832 h 1113832"/>
                <a:gd name="connsiteX8" fmla="*/ 200469 w 494985"/>
                <a:gd name="connsiteY8" fmla="*/ 1108699 h 1113832"/>
                <a:gd name="connsiteX9" fmla="*/ 158041 w 494985"/>
                <a:gd name="connsiteY9" fmla="*/ 1035229 h 1113832"/>
                <a:gd name="connsiteX10" fmla="*/ 28501 w 494985"/>
                <a:gd name="connsiteY10" fmla="*/ 1035486 h 1113832"/>
                <a:gd name="connsiteX11" fmla="*/ 0 w 494985"/>
                <a:gd name="connsiteY11" fmla="*/ 1006985 h 1113832"/>
                <a:gd name="connsiteX12" fmla="*/ 0 w 494985"/>
                <a:gd name="connsiteY12" fmla="*/ 28501 h 1113832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8535 w 494985"/>
                <a:gd name="connsiteY7" fmla="*/ 1108591 h 1108699"/>
                <a:gd name="connsiteX8" fmla="*/ 200469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8535 w 494985"/>
                <a:gd name="connsiteY7" fmla="*/ 1108591 h 1108699"/>
                <a:gd name="connsiteX8" fmla="*/ 186182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8535 w 494985"/>
                <a:gd name="connsiteY7" fmla="*/ 1108591 h 1108699"/>
                <a:gd name="connsiteX8" fmla="*/ 186182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298535 w 494985"/>
                <a:gd name="connsiteY7" fmla="*/ 1108591 h 1108699"/>
                <a:gd name="connsiteX8" fmla="*/ 186182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  <a:gd name="connsiteX0" fmla="*/ 0 w 494985"/>
                <a:gd name="connsiteY0" fmla="*/ 28501 h 1108699"/>
                <a:gd name="connsiteX1" fmla="*/ 28501 w 494985"/>
                <a:gd name="connsiteY1" fmla="*/ 0 h 1108699"/>
                <a:gd name="connsiteX2" fmla="*/ 466484 w 494985"/>
                <a:gd name="connsiteY2" fmla="*/ 0 h 1108699"/>
                <a:gd name="connsiteX3" fmla="*/ 494985 w 494985"/>
                <a:gd name="connsiteY3" fmla="*/ 28501 h 1108699"/>
                <a:gd name="connsiteX4" fmla="*/ 494985 w 494985"/>
                <a:gd name="connsiteY4" fmla="*/ 1006985 h 1108699"/>
                <a:gd name="connsiteX5" fmla="*/ 466484 w 494985"/>
                <a:gd name="connsiteY5" fmla="*/ 1035486 h 1108699"/>
                <a:gd name="connsiteX6" fmla="*/ 340962 w 494985"/>
                <a:gd name="connsiteY6" fmla="*/ 1036230 h 1108699"/>
                <a:gd name="connsiteX7" fmla="*/ 305679 w 494985"/>
                <a:gd name="connsiteY7" fmla="*/ 1108591 h 1108699"/>
                <a:gd name="connsiteX8" fmla="*/ 186182 w 494985"/>
                <a:gd name="connsiteY8" fmla="*/ 1108699 h 1108699"/>
                <a:gd name="connsiteX9" fmla="*/ 158041 w 494985"/>
                <a:gd name="connsiteY9" fmla="*/ 1035229 h 1108699"/>
                <a:gd name="connsiteX10" fmla="*/ 28501 w 494985"/>
                <a:gd name="connsiteY10" fmla="*/ 1035486 h 1108699"/>
                <a:gd name="connsiteX11" fmla="*/ 0 w 494985"/>
                <a:gd name="connsiteY11" fmla="*/ 1006985 h 1108699"/>
                <a:gd name="connsiteX12" fmla="*/ 0 w 494985"/>
                <a:gd name="connsiteY12" fmla="*/ 28501 h 110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4985" h="1108699">
                  <a:moveTo>
                    <a:pt x="0" y="28501"/>
                  </a:moveTo>
                  <a:cubicBezTo>
                    <a:pt x="0" y="12760"/>
                    <a:pt x="12760" y="0"/>
                    <a:pt x="28501" y="0"/>
                  </a:cubicBezTo>
                  <a:lnTo>
                    <a:pt x="466484" y="0"/>
                  </a:lnTo>
                  <a:cubicBezTo>
                    <a:pt x="482225" y="0"/>
                    <a:pt x="494985" y="12760"/>
                    <a:pt x="494985" y="28501"/>
                  </a:cubicBezTo>
                  <a:lnTo>
                    <a:pt x="494985" y="1006985"/>
                  </a:lnTo>
                  <a:cubicBezTo>
                    <a:pt x="494985" y="1022726"/>
                    <a:pt x="482225" y="1035486"/>
                    <a:pt x="466484" y="1035486"/>
                  </a:cubicBezTo>
                  <a:lnTo>
                    <a:pt x="340962" y="1036230"/>
                  </a:lnTo>
                  <a:lnTo>
                    <a:pt x="305679" y="1108591"/>
                  </a:lnTo>
                  <a:lnTo>
                    <a:pt x="186182" y="1108699"/>
                  </a:lnTo>
                  <a:lnTo>
                    <a:pt x="158041" y="1035229"/>
                  </a:lnTo>
                  <a:lnTo>
                    <a:pt x="28501" y="1035486"/>
                  </a:lnTo>
                  <a:cubicBezTo>
                    <a:pt x="12760" y="1035486"/>
                    <a:pt x="0" y="1022726"/>
                    <a:pt x="0" y="1006985"/>
                  </a:cubicBezTo>
                  <a:lnTo>
                    <a:pt x="0" y="28501"/>
                  </a:lnTo>
                  <a:close/>
                </a:path>
              </a:pathLst>
            </a:custGeom>
            <a:solidFill>
              <a:schemeClr val="accent2"/>
            </a:solidFill>
            <a:ln w="9525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9642" tIns="89642" rIns="89642" bIns="89642" rtlCol="0" anchor="t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Arial"/>
                </a:rPr>
                <a:t>MapReduce </a:t>
              </a: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cs typeface="Arial"/>
                </a:rPr>
                <a:t>(Batch Queries)</a:t>
              </a: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980" b="1" kern="0" dirty="0"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Arial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 dirty="0"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Arial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980" b="1" kern="0" dirty="0"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Arial"/>
              </a:endParaRPr>
            </a:p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980" b="1" kern="0" dirty="0">
                <a:gradFill>
                  <a:gsLst>
                    <a:gs pos="29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Arial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4178968" y="4907461"/>
              <a:ext cx="3210766" cy="918195"/>
            </a:xfrm>
            <a:prstGeom prst="rect">
              <a:avLst/>
            </a:prstGeom>
            <a:solidFill>
              <a:schemeClr val="tx1">
                <a:alpha val="13000"/>
              </a:schemeClr>
            </a:solidFill>
            <a:ln w="28575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lIns="89642" tIns="89642" rIns="89642" bIns="89642" rtlCol="0" anchor="t" anchorCtr="0"/>
            <a:lstStyle/>
            <a:p>
              <a:pPr defTabSz="4481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 dirty="0"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cs typeface="Arial"/>
                </a:rPr>
                <a:t>HDFS  </a:t>
              </a:r>
            </a:p>
            <a:p>
              <a:pPr defTabSz="4481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 dirty="0"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cs typeface="Arial"/>
                </a:rPr>
                <a:t>(Hadoop Distributed File System)</a:t>
              </a:r>
            </a:p>
          </p:txBody>
        </p:sp>
        <p:grpSp>
          <p:nvGrpSpPr>
            <p:cNvPr id="8" name="Group 29"/>
            <p:cNvGrpSpPr/>
            <p:nvPr/>
          </p:nvGrpSpPr>
          <p:grpSpPr>
            <a:xfrm>
              <a:off x="739127" y="5055400"/>
              <a:ext cx="1060704" cy="1083808"/>
              <a:chOff x="1032882" y="5220882"/>
              <a:chExt cx="1060704" cy="1083808"/>
            </a:xfrm>
          </p:grpSpPr>
          <p:pic>
            <p:nvPicPr>
              <p:cNvPr id="22" name="Picture 3" descr="\\MAGNUM\Projects\Microsoft\Cloud Power FY12\Design\ICONS_PNG\Document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 bwMode="auto">
              <a:xfrm>
                <a:off x="1032882" y="5243986"/>
                <a:ext cx="1060704" cy="1060704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1133371" y="5220882"/>
                <a:ext cx="859726" cy="1885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913505" fontAlgn="base">
                  <a:spcBef>
                    <a:spcPct val="0"/>
                  </a:spcBef>
                </a:pPr>
                <a:r>
                  <a:rPr lang="en-US" sz="1176" dirty="0">
                    <a:gradFill>
                      <a:gsLst>
                        <a:gs pos="2920">
                          <a:srgbClr val="505050"/>
                        </a:gs>
                        <a:gs pos="39000">
                          <a:srgbClr val="505050"/>
                        </a:gs>
                      </a:gsLst>
                      <a:lin ang="5400000" scaled="0"/>
                    </a:gradFill>
                    <a:ea typeface="MS PGothic" charset="0"/>
                  </a:rPr>
                  <a:t>File System</a:t>
                </a:r>
              </a:p>
            </p:txBody>
          </p:sp>
        </p:grpSp>
        <p:grpSp>
          <p:nvGrpSpPr>
            <p:cNvPr id="9" name="Group 28"/>
            <p:cNvGrpSpPr/>
            <p:nvPr/>
          </p:nvGrpSpPr>
          <p:grpSpPr>
            <a:xfrm>
              <a:off x="739127" y="4006950"/>
              <a:ext cx="1062436" cy="1074283"/>
              <a:chOff x="1032882" y="4253340"/>
              <a:chExt cx="1062436" cy="1074283"/>
            </a:xfrm>
          </p:grpSpPr>
          <p:pic>
            <p:nvPicPr>
              <p:cNvPr id="20" name="Picture 3" descr="\\MAGNUM\Projects\Microsoft\Cloud Power FY12\Design\ICONS_PNG\Document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 bwMode="auto">
              <a:xfrm>
                <a:off x="1032882" y="4265187"/>
                <a:ext cx="1062436" cy="1062436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1" name="TextBox 20"/>
              <p:cNvSpPr txBox="1"/>
              <p:nvPr/>
            </p:nvSpPr>
            <p:spPr>
              <a:xfrm>
                <a:off x="1134237" y="4253340"/>
                <a:ext cx="859726" cy="1839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913505" fontAlgn="base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</a:pPr>
                <a:r>
                  <a:rPr lang="en-US" sz="1176" dirty="0">
                    <a:gradFill>
                      <a:gsLst>
                        <a:gs pos="2920">
                          <a:srgbClr val="505050"/>
                        </a:gs>
                        <a:gs pos="39000">
                          <a:srgbClr val="505050"/>
                        </a:gs>
                      </a:gsLst>
                      <a:lin ang="5400000" scaled="0"/>
                    </a:gradFill>
                    <a:ea typeface="MS PGothic" charset="0"/>
                  </a:rPr>
                  <a:t>MapReduce</a:t>
                </a:r>
              </a:p>
            </p:txBody>
          </p:sp>
        </p:grpSp>
        <p:sp>
          <p:nvSpPr>
            <p:cNvPr id="10" name="Right Arrow 14"/>
            <p:cNvSpPr/>
            <p:nvPr/>
          </p:nvSpPr>
          <p:spPr bwMode="auto">
            <a:xfrm>
              <a:off x="1980657" y="4289411"/>
              <a:ext cx="1929981" cy="509361"/>
            </a:xfrm>
            <a:prstGeom prst="rightArrow">
              <a:avLst>
                <a:gd name="adj1" fmla="val 59973"/>
                <a:gd name="adj2" fmla="val 64960"/>
              </a:avLst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9475" y="3477350"/>
              <a:ext cx="1286002" cy="442384"/>
            </a:xfrm>
            <a:prstGeom prst="rect">
              <a:avLst/>
            </a:prstGeom>
          </p:spPr>
        </p:pic>
        <p:pic>
          <p:nvPicPr>
            <p:cNvPr id="12" name="Picture 4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1733" y="3479118"/>
              <a:ext cx="1427828" cy="332683"/>
            </a:xfrm>
            <a:prstGeom prst="rect">
              <a:avLst/>
            </a:prstGeom>
          </p:spPr>
        </p:pic>
        <p:pic>
          <p:nvPicPr>
            <p:cNvPr id="13" name="Picture 22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5821" y="3379142"/>
              <a:ext cx="1975152" cy="511635"/>
            </a:xfrm>
            <a:prstGeom prst="rect">
              <a:avLst/>
            </a:prstGeom>
          </p:spPr>
        </p:pic>
        <p:pic>
          <p:nvPicPr>
            <p:cNvPr id="14" name="Picture 23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6891" y="3477350"/>
              <a:ext cx="1832814" cy="391732"/>
            </a:xfrm>
            <a:prstGeom prst="rect">
              <a:avLst/>
            </a:prstGeom>
          </p:spPr>
        </p:pic>
        <p:pic>
          <p:nvPicPr>
            <p:cNvPr id="15" name="Picture 24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9782" y="4935509"/>
              <a:ext cx="1522067" cy="442284"/>
            </a:xfrm>
            <a:prstGeom prst="rect">
              <a:avLst/>
            </a:prstGeom>
          </p:spPr>
        </p:pic>
        <p:pic>
          <p:nvPicPr>
            <p:cNvPr id="16" name="Picture 25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01774" y="5212225"/>
              <a:ext cx="1754460" cy="1355720"/>
            </a:xfrm>
            <a:prstGeom prst="rect">
              <a:avLst/>
            </a:prstGeom>
          </p:spPr>
        </p:pic>
        <p:pic>
          <p:nvPicPr>
            <p:cNvPr id="17" name="Picture 26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52996" y="4034819"/>
              <a:ext cx="1598853" cy="614543"/>
            </a:xfrm>
            <a:prstGeom prst="rect">
              <a:avLst/>
            </a:prstGeom>
          </p:spPr>
        </p:pic>
        <p:sp>
          <p:nvSpPr>
            <p:cNvPr id="18" name="Right Arrow 27"/>
            <p:cNvSpPr/>
            <p:nvPr/>
          </p:nvSpPr>
          <p:spPr bwMode="auto">
            <a:xfrm>
              <a:off x="1980657" y="5342624"/>
              <a:ext cx="1929981" cy="509361"/>
            </a:xfrm>
            <a:prstGeom prst="rightArrow">
              <a:avLst>
                <a:gd name="adj1" fmla="val 59973"/>
                <a:gd name="adj2" fmla="val 64960"/>
              </a:avLst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ight Arrow 30"/>
            <p:cNvSpPr/>
            <p:nvPr/>
          </p:nvSpPr>
          <p:spPr bwMode="auto">
            <a:xfrm>
              <a:off x="7658064" y="4571958"/>
              <a:ext cx="1929981" cy="509361"/>
            </a:xfrm>
            <a:prstGeom prst="rightArrow">
              <a:avLst>
                <a:gd name="adj1" fmla="val 59973"/>
                <a:gd name="adj2" fmla="val 64960"/>
              </a:avLst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b="1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1388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Data Volume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altLang="ko-KR" sz="2400" dirty="0"/>
              <a:t>Hadoop</a:t>
            </a:r>
            <a:r>
              <a:rPr lang="ko-KR" altLang="en-US" sz="2400"/>
              <a:t>은</a:t>
            </a:r>
            <a:r>
              <a:rPr lang="en-US" altLang="ko-KR" sz="2400" dirty="0"/>
              <a:t> </a:t>
            </a:r>
            <a:r>
              <a:rPr lang="ko-KR" altLang="en-US" sz="2400"/>
              <a:t>파일을 분산 파일 시스템에 저장</a:t>
            </a:r>
            <a:endParaRPr lang="en-US" altLang="ko-KR" sz="2400" dirty="0"/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ko-KR" altLang="en-US" sz="1600" dirty="0"/>
              <a:t>저장소와 컴퓨팅은 여러 </a:t>
            </a:r>
            <a:r>
              <a:rPr lang="ko-KR" altLang="en-US" sz="1600" dirty="0" err="1"/>
              <a:t>노드에</a:t>
            </a:r>
            <a:r>
              <a:rPr lang="ko-KR" altLang="en-US" sz="1600" dirty="0"/>
              <a:t> 걸쳐 분산된다</a:t>
            </a:r>
            <a:endParaRPr lang="en-US" altLang="ko-KR" sz="1600" dirty="0"/>
          </a:p>
          <a:p>
            <a:pPr marL="704850" lvl="1" indent="-342900">
              <a:buFont typeface="Arial" panose="020B0604020202020204" pitchFamily="34" charset="0"/>
              <a:buChar char="•"/>
            </a:pPr>
            <a:r>
              <a:rPr lang="ko-KR" altLang="en-US" sz="1600" dirty="0"/>
              <a:t>파일은 여러 대의 </a:t>
            </a:r>
            <a:r>
              <a:rPr lang="ko-KR" altLang="en-US" sz="1600" dirty="0" err="1"/>
              <a:t>노드로</a:t>
            </a:r>
            <a:r>
              <a:rPr lang="ko-KR" altLang="en-US" sz="1600" dirty="0"/>
              <a:t> 펼쳐져서 저장될 수 있다</a:t>
            </a:r>
            <a:r>
              <a:rPr lang="en-US" altLang="ko-KR" sz="1600" dirty="0"/>
              <a:t>.</a:t>
            </a:r>
          </a:p>
          <a:p>
            <a:r>
              <a:rPr lang="en-US" altLang="ko-KR" sz="2400" dirty="0"/>
              <a:t>Hadoop</a:t>
            </a:r>
            <a:r>
              <a:rPr lang="ko-KR" altLang="en-US" sz="2400"/>
              <a:t>은 매우 큰 볼륨의 데이터를 저장할 수 있음</a:t>
            </a:r>
            <a:endParaRPr lang="en-US" altLang="ko-KR" sz="2400" dirty="0"/>
          </a:p>
          <a:p>
            <a:pPr marL="647700" lvl="1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결합된 저장소 리소스로 몇 개의 </a:t>
            </a:r>
            <a:r>
              <a:rPr lang="ko-KR" altLang="en-US" sz="1600" dirty="0" err="1"/>
              <a:t>노드에서</a:t>
            </a:r>
            <a:r>
              <a:rPr lang="ko-KR" altLang="en-US" sz="1600" dirty="0"/>
              <a:t> 수 </a:t>
            </a:r>
            <a:r>
              <a:rPr lang="ko-KR" altLang="en-US" sz="1600" dirty="0" err="1"/>
              <a:t>천개의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노드로</a:t>
            </a:r>
            <a:r>
              <a:rPr lang="ko-KR" altLang="en-US" sz="1600" dirty="0"/>
              <a:t> 확장할 수 있음</a:t>
            </a:r>
            <a:endParaRPr lang="en-US" altLang="ko-KR" sz="1600" dirty="0"/>
          </a:p>
          <a:p>
            <a:pPr marL="647700" lvl="1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선형 스케일 아웃</a:t>
            </a:r>
            <a:endParaRPr lang="en-US" altLang="ko-KR" sz="1600" dirty="0"/>
          </a:p>
          <a:p>
            <a:pPr marL="647700" lvl="1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단일 </a:t>
            </a:r>
            <a:r>
              <a:rPr lang="ko-KR" altLang="en-US" sz="1600" dirty="0" err="1"/>
              <a:t>노드의</a:t>
            </a:r>
            <a:r>
              <a:rPr lang="ko-KR" altLang="en-US" sz="1600" dirty="0"/>
              <a:t> 용량보다 큰 파일을 포함하는 대용량 파일도 지원</a:t>
            </a:r>
            <a:endParaRPr lang="en-US" altLang="ko-KR" sz="1600" dirty="0"/>
          </a:p>
          <a:p>
            <a:endParaRPr lang="ko-KR" altLang="en-US" sz="2400" dirty="0"/>
          </a:p>
        </p:txBody>
      </p:sp>
      <p:grpSp>
        <p:nvGrpSpPr>
          <p:cNvPr id="4" name="Group 2"/>
          <p:cNvGrpSpPr/>
          <p:nvPr/>
        </p:nvGrpSpPr>
        <p:grpSpPr>
          <a:xfrm>
            <a:off x="422256" y="3672834"/>
            <a:ext cx="11303559" cy="3039883"/>
            <a:chOff x="430722" y="3616013"/>
            <a:chExt cx="11530219" cy="3100839"/>
          </a:xfrm>
        </p:grpSpPr>
        <p:sp>
          <p:nvSpPr>
            <p:cNvPr id="5" name="Rectangle 47"/>
            <p:cNvSpPr/>
            <p:nvPr>
              <p:custDataLst>
                <p:tags r:id="rId1"/>
              </p:custDataLst>
            </p:nvPr>
          </p:nvSpPr>
          <p:spPr bwMode="auto">
            <a:xfrm>
              <a:off x="430722" y="3616013"/>
              <a:ext cx="11530219" cy="31008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9639" tIns="89642" rIns="89639" bIns="44819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endParaRPr lang="en-US" sz="1372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595959"/>
                </a:solidFill>
              </a:endParaRPr>
            </a:p>
          </p:txBody>
        </p:sp>
        <p:grpSp>
          <p:nvGrpSpPr>
            <p:cNvPr id="6" name="Group 25"/>
            <p:cNvGrpSpPr/>
            <p:nvPr/>
          </p:nvGrpSpPr>
          <p:grpSpPr>
            <a:xfrm>
              <a:off x="3998761" y="3819881"/>
              <a:ext cx="7847950" cy="2693102"/>
              <a:chOff x="1189141" y="3600014"/>
              <a:chExt cx="9329267" cy="3394511"/>
            </a:xfrm>
          </p:grpSpPr>
          <p:sp>
            <p:nvSpPr>
              <p:cNvPr id="27" name="Rectangle 3"/>
              <p:cNvSpPr/>
              <p:nvPr/>
            </p:nvSpPr>
            <p:spPr bwMode="auto">
              <a:xfrm>
                <a:off x="1347537" y="3600014"/>
                <a:ext cx="9009247" cy="337044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endParaRPr lang="en-US" sz="1961" b="1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28" name="Picture 4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1189141" y="3608036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29" name="Picture 5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1189141" y="5165725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0" name="Picture 7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2294442" y="3608036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1" name="Picture 8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2294442" y="5157703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2" name="Picture 10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3443849" y="3600014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3" name="Picture 11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3399743" y="5149681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4" name="Picture 13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4409593" y="3600014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5" name="Picture 14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4402355" y="5141659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6" name="Picture 17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5507656" y="3608036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7" name="Picture 18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5507656" y="5165725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8" name="Picture 19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6612957" y="3608036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39" name="Picture 20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6612957" y="5157703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40" name="Picture 21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7723864" y="3600014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41" name="Picture 22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7679758" y="5149681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42" name="Picture 23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8689608" y="3600014"/>
                <a:ext cx="1828800" cy="1828800"/>
              </a:xfrm>
              <a:prstGeom prst="rect">
                <a:avLst/>
              </a:prstGeom>
              <a:noFill/>
            </p:spPr>
          </p:pic>
          <p:pic>
            <p:nvPicPr>
              <p:cNvPr id="43" name="Picture 24" descr="\\MAGNUM\Projects\Microsoft\Cloud Power FY12\Design\ICONS_PNG\Tower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tretch>
                <a:fillRect/>
              </a:stretch>
            </p:blipFill>
            <p:spPr bwMode="auto">
              <a:xfrm>
                <a:off x="8682370" y="5141659"/>
                <a:ext cx="1828800" cy="1828800"/>
              </a:xfrm>
              <a:prstGeom prst="rect">
                <a:avLst/>
              </a:prstGeom>
              <a:noFill/>
            </p:spPr>
          </p:pic>
        </p:grpSp>
        <p:sp>
          <p:nvSpPr>
            <p:cNvPr id="7" name="Right Arrow 26"/>
            <p:cNvSpPr/>
            <p:nvPr/>
          </p:nvSpPr>
          <p:spPr bwMode="auto">
            <a:xfrm>
              <a:off x="2511248" y="4887687"/>
              <a:ext cx="1478062" cy="557490"/>
            </a:xfrm>
            <a:prstGeom prst="rightArrow">
              <a:avLst/>
            </a:prstGeom>
            <a:solidFill>
              <a:schemeClr val="bg2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9639" tIns="44819" rIns="89639" bIns="4481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6091"/>
              <a:endParaRPr lang="en-US" sz="156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191167" y="3880314"/>
              <a:ext cx="460217" cy="1969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  <a:buSzPct val="80000"/>
              </a:pPr>
              <a:r>
                <a:rPr lang="en-US" sz="1568" b="1" dirty="0">
                  <a:gradFill>
                    <a:gsLst>
                      <a:gs pos="2920">
                        <a:srgbClr val="505050"/>
                      </a:gs>
                      <a:gs pos="39000">
                        <a:srgbClr val="505050"/>
                      </a:gs>
                    </a:gsLst>
                    <a:lin ang="5400000" scaled="0"/>
                  </a:gradFill>
                </a:rPr>
                <a:t>Files</a:t>
              </a:r>
            </a:p>
          </p:txBody>
        </p:sp>
        <p:grpSp>
          <p:nvGrpSpPr>
            <p:cNvPr id="9" name="Group 29"/>
            <p:cNvGrpSpPr/>
            <p:nvPr/>
          </p:nvGrpSpPr>
          <p:grpSpPr>
            <a:xfrm>
              <a:off x="1568494" y="4974994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25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Group 32"/>
            <p:cNvGrpSpPr/>
            <p:nvPr/>
          </p:nvGrpSpPr>
          <p:grpSpPr>
            <a:xfrm>
              <a:off x="777506" y="4127333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23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" name="Group 35"/>
            <p:cNvGrpSpPr/>
            <p:nvPr/>
          </p:nvGrpSpPr>
          <p:grpSpPr>
            <a:xfrm>
              <a:off x="1568494" y="4127333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21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Group 38"/>
            <p:cNvGrpSpPr/>
            <p:nvPr/>
          </p:nvGrpSpPr>
          <p:grpSpPr>
            <a:xfrm>
              <a:off x="777506" y="4974994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19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Group 41"/>
            <p:cNvGrpSpPr/>
            <p:nvPr/>
          </p:nvGrpSpPr>
          <p:grpSpPr>
            <a:xfrm>
              <a:off x="1568494" y="5815701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17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Group 44"/>
            <p:cNvGrpSpPr/>
            <p:nvPr/>
          </p:nvGrpSpPr>
          <p:grpSpPr>
            <a:xfrm>
              <a:off x="777506" y="5822655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15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1920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Data Variety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altLang="ko-KR" sz="2800" dirty="0"/>
              <a:t>Hadoop</a:t>
            </a:r>
            <a:r>
              <a:rPr lang="ko-KR" altLang="en-US" sz="2800"/>
              <a:t>은</a:t>
            </a:r>
            <a:r>
              <a:rPr lang="en-US" altLang="ko-KR" sz="2800" dirty="0"/>
              <a:t> </a:t>
            </a:r>
            <a:r>
              <a:rPr lang="ko-KR" altLang="en-US" sz="2800"/>
              <a:t>데이터를 저장</a:t>
            </a:r>
            <a:r>
              <a:rPr lang="en-US" altLang="ko-KR" sz="2800" dirty="0"/>
              <a:t> (</a:t>
            </a:r>
            <a:r>
              <a:rPr lang="ko-KR" altLang="en-US" sz="2800"/>
              <a:t>비 관계형 저장소</a:t>
            </a:r>
            <a:r>
              <a:rPr lang="en-US" altLang="ko-KR" sz="2800" dirty="0"/>
              <a:t>)</a:t>
            </a:r>
          </a:p>
          <a:p>
            <a:pPr marL="647700" lvl="1" indent="-285750">
              <a:buFont typeface="Arial" panose="020B0604020202020204" pitchFamily="34" charset="0"/>
              <a:buChar char="•"/>
            </a:pPr>
            <a:r>
              <a:rPr lang="ko-KR" altLang="en-US" sz="1800" dirty="0"/>
              <a:t>파일은 다양한 반구조적 또는 비구조적 데이터를 포함할 수 있다</a:t>
            </a:r>
            <a:endParaRPr lang="en-US" altLang="ko-KR" sz="1800" dirty="0"/>
          </a:p>
          <a:p>
            <a:pPr marL="647700" lvl="1" indent="-285750">
              <a:buFont typeface="Arial" panose="020B0604020202020204" pitchFamily="34" charset="0"/>
              <a:buChar char="•"/>
            </a:pPr>
            <a:r>
              <a:rPr lang="ko-KR" altLang="en-US" sz="1800" dirty="0"/>
              <a:t>이전에는</a:t>
            </a:r>
            <a:r>
              <a:rPr lang="en-US" altLang="ko-KR" sz="1800" dirty="0"/>
              <a:t>, </a:t>
            </a:r>
            <a:r>
              <a:rPr lang="ko-KR" altLang="en-US" sz="1800"/>
              <a:t>이러한 파일들은 가치가 인사이트를 제공하지 못했다</a:t>
            </a:r>
            <a:endParaRPr lang="en-US" altLang="ko-KR" sz="1800" dirty="0"/>
          </a:p>
          <a:p>
            <a:pPr marL="647700" lvl="1" indent="-285750">
              <a:buFont typeface="Arial" panose="020B0604020202020204" pitchFamily="34" charset="0"/>
              <a:buChar char="•"/>
            </a:pPr>
            <a:r>
              <a:rPr lang="ko-KR" altLang="en-US" sz="1800" dirty="0"/>
              <a:t>오늘날</a:t>
            </a:r>
            <a:r>
              <a:rPr lang="en-US" altLang="ko-KR" sz="1800" dirty="0"/>
              <a:t>, </a:t>
            </a:r>
            <a:r>
              <a:rPr lang="ko-KR" altLang="en-US" sz="1800"/>
              <a:t>새로운 비즈니스 질문과 인사이트가 데이터 과학을 통해 발견되고 있음</a:t>
            </a:r>
          </a:p>
        </p:txBody>
      </p:sp>
      <p:grpSp>
        <p:nvGrpSpPr>
          <p:cNvPr id="4" name="Group 15"/>
          <p:cNvGrpSpPr/>
          <p:nvPr/>
        </p:nvGrpSpPr>
        <p:grpSpPr>
          <a:xfrm>
            <a:off x="269240" y="2818618"/>
            <a:ext cx="1872219" cy="3747869"/>
            <a:chOff x="274638" y="2874640"/>
            <a:chExt cx="1909761" cy="3823022"/>
          </a:xfrm>
        </p:grpSpPr>
        <p:grpSp>
          <p:nvGrpSpPr>
            <p:cNvPr id="5" name="Group 9"/>
            <p:cNvGrpSpPr/>
            <p:nvPr/>
          </p:nvGrpSpPr>
          <p:grpSpPr>
            <a:xfrm>
              <a:off x="274638" y="3686475"/>
              <a:ext cx="1909761" cy="3011187"/>
              <a:chOff x="274638" y="3686475"/>
              <a:chExt cx="1909761" cy="3011187"/>
            </a:xfrm>
          </p:grpSpPr>
          <p:sp>
            <p:nvSpPr>
              <p:cNvPr id="9" name="TextBox 8"/>
              <p:cNvSpPr txBox="1"/>
              <p:nvPr/>
            </p:nvSpPr>
            <p:spPr>
              <a:xfrm>
                <a:off x="274638" y="3686475"/>
                <a:ext cx="1909761" cy="3011187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179285" tIns="143428" rIns="179285" bIns="143428" rtlCol="0">
                <a:normAutofit/>
              </a:bodyPr>
              <a:lstStyle/>
              <a:p>
                <a:pPr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US" sz="1961" b="1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Sentiment</a:t>
                </a:r>
              </a:p>
              <a:p>
                <a:pPr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Understand </a:t>
                </a:r>
                <a:b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</a:br>
                <a: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how your customers</a:t>
                </a:r>
                <a:b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</a:br>
                <a: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feel about </a:t>
                </a:r>
                <a:b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</a:br>
                <a: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your brand </a:t>
                </a:r>
                <a:b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</a:br>
                <a: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and products—</a:t>
                </a:r>
                <a:b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</a:br>
                <a:r>
                  <a:rPr lang="en-US" sz="1568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right now</a:t>
                </a:r>
              </a:p>
            </p:txBody>
          </p:sp>
          <p:sp>
            <p:nvSpPr>
              <p:cNvPr id="10" name="Freeform 21"/>
              <p:cNvSpPr>
                <a:spLocks noChangeAspect="1" noEditPoints="1"/>
              </p:cNvSpPr>
              <p:nvPr/>
            </p:nvSpPr>
            <p:spPr bwMode="auto">
              <a:xfrm>
                <a:off x="1419287" y="5888076"/>
                <a:ext cx="628572" cy="674602"/>
              </a:xfrm>
              <a:custGeom>
                <a:avLst/>
                <a:gdLst>
                  <a:gd name="T0" fmla="*/ 1483 w 1540"/>
                  <a:gd name="T1" fmla="*/ 927 h 1653"/>
                  <a:gd name="T2" fmla="*/ 1540 w 1540"/>
                  <a:gd name="T3" fmla="*/ 1054 h 1653"/>
                  <a:gd name="T4" fmla="*/ 1471 w 1540"/>
                  <a:gd name="T5" fmla="*/ 1158 h 1653"/>
                  <a:gd name="T6" fmla="*/ 1506 w 1540"/>
                  <a:gd name="T7" fmla="*/ 1279 h 1653"/>
                  <a:gd name="T8" fmla="*/ 1413 w 1540"/>
                  <a:gd name="T9" fmla="*/ 1400 h 1653"/>
                  <a:gd name="T10" fmla="*/ 1408 w 1540"/>
                  <a:gd name="T11" fmla="*/ 1498 h 1653"/>
                  <a:gd name="T12" fmla="*/ 1275 w 1540"/>
                  <a:gd name="T13" fmla="*/ 1613 h 1653"/>
                  <a:gd name="T14" fmla="*/ 723 w 1540"/>
                  <a:gd name="T15" fmla="*/ 1613 h 1653"/>
                  <a:gd name="T16" fmla="*/ 378 w 1540"/>
                  <a:gd name="T17" fmla="*/ 1550 h 1653"/>
                  <a:gd name="T18" fmla="*/ 378 w 1540"/>
                  <a:gd name="T19" fmla="*/ 893 h 1653"/>
                  <a:gd name="T20" fmla="*/ 389 w 1540"/>
                  <a:gd name="T21" fmla="*/ 893 h 1653"/>
                  <a:gd name="T22" fmla="*/ 389 w 1540"/>
                  <a:gd name="T23" fmla="*/ 893 h 1653"/>
                  <a:gd name="T24" fmla="*/ 418 w 1540"/>
                  <a:gd name="T25" fmla="*/ 893 h 1653"/>
                  <a:gd name="T26" fmla="*/ 666 w 1540"/>
                  <a:gd name="T27" fmla="*/ 530 h 1653"/>
                  <a:gd name="T28" fmla="*/ 758 w 1540"/>
                  <a:gd name="T29" fmla="*/ 426 h 1653"/>
                  <a:gd name="T30" fmla="*/ 896 w 1540"/>
                  <a:gd name="T31" fmla="*/ 40 h 1653"/>
                  <a:gd name="T32" fmla="*/ 1068 w 1540"/>
                  <a:gd name="T33" fmla="*/ 86 h 1653"/>
                  <a:gd name="T34" fmla="*/ 1086 w 1540"/>
                  <a:gd name="T35" fmla="*/ 380 h 1653"/>
                  <a:gd name="T36" fmla="*/ 999 w 1540"/>
                  <a:gd name="T37" fmla="*/ 662 h 1653"/>
                  <a:gd name="T38" fmla="*/ 1431 w 1540"/>
                  <a:gd name="T39" fmla="*/ 674 h 1653"/>
                  <a:gd name="T40" fmla="*/ 1540 w 1540"/>
                  <a:gd name="T41" fmla="*/ 835 h 1653"/>
                  <a:gd name="T42" fmla="*/ 1483 w 1540"/>
                  <a:gd name="T43" fmla="*/ 927 h 1653"/>
                  <a:gd name="T44" fmla="*/ 330 w 1540"/>
                  <a:gd name="T45" fmla="*/ 1524 h 1653"/>
                  <a:gd name="T46" fmla="*/ 330 w 1540"/>
                  <a:gd name="T47" fmla="*/ 1524 h 1653"/>
                  <a:gd name="T48" fmla="*/ 330 w 1540"/>
                  <a:gd name="T49" fmla="*/ 920 h 1653"/>
                  <a:gd name="T50" fmla="*/ 255 w 1540"/>
                  <a:gd name="T51" fmla="*/ 850 h 1653"/>
                  <a:gd name="T52" fmla="*/ 76 w 1540"/>
                  <a:gd name="T53" fmla="*/ 850 h 1653"/>
                  <a:gd name="T54" fmla="*/ 0 w 1540"/>
                  <a:gd name="T55" fmla="*/ 920 h 1653"/>
                  <a:gd name="T56" fmla="*/ 0 w 1540"/>
                  <a:gd name="T57" fmla="*/ 1524 h 1653"/>
                  <a:gd name="T58" fmla="*/ 76 w 1540"/>
                  <a:gd name="T59" fmla="*/ 1593 h 1653"/>
                  <a:gd name="T60" fmla="*/ 255 w 1540"/>
                  <a:gd name="T61" fmla="*/ 1593 h 1653"/>
                  <a:gd name="T62" fmla="*/ 330 w 1540"/>
                  <a:gd name="T63" fmla="*/ 1524 h 1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40" h="1653">
                    <a:moveTo>
                      <a:pt x="1483" y="927"/>
                    </a:moveTo>
                    <a:cubicBezTo>
                      <a:pt x="1483" y="962"/>
                      <a:pt x="1540" y="1020"/>
                      <a:pt x="1540" y="1054"/>
                    </a:cubicBezTo>
                    <a:cubicBezTo>
                      <a:pt x="1540" y="1083"/>
                      <a:pt x="1471" y="1129"/>
                      <a:pt x="1471" y="1158"/>
                    </a:cubicBezTo>
                    <a:cubicBezTo>
                      <a:pt x="1465" y="1192"/>
                      <a:pt x="1506" y="1244"/>
                      <a:pt x="1506" y="1279"/>
                    </a:cubicBezTo>
                    <a:cubicBezTo>
                      <a:pt x="1506" y="1325"/>
                      <a:pt x="1431" y="1365"/>
                      <a:pt x="1413" y="1400"/>
                    </a:cubicBezTo>
                    <a:cubicBezTo>
                      <a:pt x="1402" y="1417"/>
                      <a:pt x="1419" y="1475"/>
                      <a:pt x="1408" y="1498"/>
                    </a:cubicBezTo>
                    <a:cubicBezTo>
                      <a:pt x="1390" y="1538"/>
                      <a:pt x="1321" y="1601"/>
                      <a:pt x="1275" y="1613"/>
                    </a:cubicBezTo>
                    <a:cubicBezTo>
                      <a:pt x="1143" y="1653"/>
                      <a:pt x="723" y="1613"/>
                      <a:pt x="723" y="1613"/>
                    </a:cubicBezTo>
                    <a:cubicBezTo>
                      <a:pt x="723" y="1613"/>
                      <a:pt x="723" y="1613"/>
                      <a:pt x="378" y="1550"/>
                    </a:cubicBezTo>
                    <a:cubicBezTo>
                      <a:pt x="378" y="1550"/>
                      <a:pt x="378" y="1550"/>
                      <a:pt x="378" y="893"/>
                    </a:cubicBezTo>
                    <a:cubicBezTo>
                      <a:pt x="378" y="893"/>
                      <a:pt x="378" y="893"/>
                      <a:pt x="389" y="893"/>
                    </a:cubicBezTo>
                    <a:cubicBezTo>
                      <a:pt x="389" y="893"/>
                      <a:pt x="389" y="893"/>
                      <a:pt x="389" y="893"/>
                    </a:cubicBezTo>
                    <a:cubicBezTo>
                      <a:pt x="389" y="893"/>
                      <a:pt x="389" y="893"/>
                      <a:pt x="418" y="893"/>
                    </a:cubicBezTo>
                    <a:cubicBezTo>
                      <a:pt x="458" y="881"/>
                      <a:pt x="550" y="824"/>
                      <a:pt x="666" y="530"/>
                    </a:cubicBezTo>
                    <a:cubicBezTo>
                      <a:pt x="683" y="484"/>
                      <a:pt x="717" y="455"/>
                      <a:pt x="758" y="426"/>
                    </a:cubicBezTo>
                    <a:cubicBezTo>
                      <a:pt x="827" y="374"/>
                      <a:pt x="878" y="299"/>
                      <a:pt x="896" y="40"/>
                    </a:cubicBezTo>
                    <a:cubicBezTo>
                      <a:pt x="896" y="0"/>
                      <a:pt x="1011" y="6"/>
                      <a:pt x="1068" y="86"/>
                    </a:cubicBezTo>
                    <a:cubicBezTo>
                      <a:pt x="1120" y="155"/>
                      <a:pt x="1126" y="282"/>
                      <a:pt x="1086" y="380"/>
                    </a:cubicBezTo>
                    <a:cubicBezTo>
                      <a:pt x="1063" y="443"/>
                      <a:pt x="965" y="599"/>
                      <a:pt x="999" y="662"/>
                    </a:cubicBezTo>
                    <a:cubicBezTo>
                      <a:pt x="999" y="662"/>
                      <a:pt x="1362" y="645"/>
                      <a:pt x="1431" y="674"/>
                    </a:cubicBezTo>
                    <a:cubicBezTo>
                      <a:pt x="1477" y="691"/>
                      <a:pt x="1540" y="789"/>
                      <a:pt x="1540" y="835"/>
                    </a:cubicBezTo>
                    <a:cubicBezTo>
                      <a:pt x="1534" y="864"/>
                      <a:pt x="1488" y="904"/>
                      <a:pt x="1483" y="927"/>
                    </a:cubicBezTo>
                    <a:close/>
                    <a:moveTo>
                      <a:pt x="330" y="1524"/>
                    </a:moveTo>
                    <a:cubicBezTo>
                      <a:pt x="330" y="1524"/>
                      <a:pt x="330" y="1524"/>
                      <a:pt x="330" y="1524"/>
                    </a:cubicBezTo>
                    <a:cubicBezTo>
                      <a:pt x="330" y="1524"/>
                      <a:pt x="330" y="1524"/>
                      <a:pt x="330" y="920"/>
                    </a:cubicBezTo>
                    <a:cubicBezTo>
                      <a:pt x="330" y="885"/>
                      <a:pt x="295" y="850"/>
                      <a:pt x="255" y="850"/>
                    </a:cubicBezTo>
                    <a:cubicBezTo>
                      <a:pt x="255" y="850"/>
                      <a:pt x="255" y="850"/>
                      <a:pt x="76" y="850"/>
                    </a:cubicBezTo>
                    <a:cubicBezTo>
                      <a:pt x="35" y="850"/>
                      <a:pt x="0" y="885"/>
                      <a:pt x="0" y="920"/>
                    </a:cubicBezTo>
                    <a:cubicBezTo>
                      <a:pt x="0" y="920"/>
                      <a:pt x="0" y="920"/>
                      <a:pt x="0" y="1524"/>
                    </a:cubicBezTo>
                    <a:cubicBezTo>
                      <a:pt x="0" y="1559"/>
                      <a:pt x="35" y="1593"/>
                      <a:pt x="76" y="1593"/>
                    </a:cubicBezTo>
                    <a:cubicBezTo>
                      <a:pt x="76" y="1593"/>
                      <a:pt x="76" y="1593"/>
                      <a:pt x="255" y="1593"/>
                    </a:cubicBezTo>
                    <a:cubicBezTo>
                      <a:pt x="295" y="1593"/>
                      <a:pt x="330" y="1559"/>
                      <a:pt x="330" y="15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Group 22"/>
            <p:cNvGrpSpPr/>
            <p:nvPr/>
          </p:nvGrpSpPr>
          <p:grpSpPr>
            <a:xfrm>
              <a:off x="879745" y="2874640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7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1" name="Group 16"/>
          <p:cNvGrpSpPr/>
          <p:nvPr/>
        </p:nvGrpSpPr>
        <p:grpSpPr>
          <a:xfrm>
            <a:off x="628023" y="2818618"/>
            <a:ext cx="3457555" cy="3747869"/>
            <a:chOff x="640616" y="2874640"/>
            <a:chExt cx="3526886" cy="3823022"/>
          </a:xfrm>
        </p:grpSpPr>
        <p:grpSp>
          <p:nvGrpSpPr>
            <p:cNvPr id="12" name="Group 10"/>
            <p:cNvGrpSpPr/>
            <p:nvPr/>
          </p:nvGrpSpPr>
          <p:grpSpPr>
            <a:xfrm>
              <a:off x="2261212" y="3686475"/>
              <a:ext cx="1906290" cy="3011187"/>
              <a:chOff x="2261212" y="3686475"/>
              <a:chExt cx="1906290" cy="3011187"/>
            </a:xfrm>
          </p:grpSpPr>
          <p:sp>
            <p:nvSpPr>
              <p:cNvPr id="16" name="TextBox 15"/>
              <p:cNvSpPr txBox="1"/>
              <p:nvPr/>
            </p:nvSpPr>
            <p:spPr>
              <a:xfrm>
                <a:off x="2261212" y="3686475"/>
                <a:ext cx="1906290" cy="3011187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179285" tIns="143428" rIns="179285" bIns="143428" rtlCol="0">
                <a:normAutofit/>
              </a:bodyPr>
              <a:lstStyle>
                <a:defPPr>
                  <a:defRPr lang="en-US"/>
                </a:defPPr>
                <a:lvl1pPr>
                  <a:spcBef>
                    <a:spcPct val="20000"/>
                  </a:spcBef>
                  <a:defRPr sz="240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</a:defRPr>
                </a:lvl1pPr>
              </a:lstStyle>
              <a:p>
                <a:pPr>
                  <a:lnSpc>
                    <a:spcPct val="90000"/>
                  </a:lnSpc>
                </a:pPr>
                <a:r>
                  <a:rPr lang="en-US" sz="1961" b="1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Clickstream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Capture and analyze</a:t>
                </a:r>
                <a:b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</a:b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website visitors’ </a:t>
                </a:r>
                <a:b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</a:b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data trails </a:t>
                </a:r>
                <a:b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</a:b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and optimize your website</a:t>
                </a:r>
              </a:p>
            </p:txBody>
          </p:sp>
          <p:sp>
            <p:nvSpPr>
              <p:cNvPr id="17" name="Freeform 25"/>
              <p:cNvSpPr>
                <a:spLocks noChangeAspect="1" noEditPoints="1"/>
              </p:cNvSpPr>
              <p:nvPr/>
            </p:nvSpPr>
            <p:spPr bwMode="auto">
              <a:xfrm>
                <a:off x="3319465" y="5893974"/>
                <a:ext cx="670305" cy="668704"/>
              </a:xfrm>
              <a:custGeom>
                <a:avLst/>
                <a:gdLst>
                  <a:gd name="T0" fmla="*/ 0 w 3586"/>
                  <a:gd name="T1" fmla="*/ 0 h 3646"/>
                  <a:gd name="T2" fmla="*/ 0 w 3586"/>
                  <a:gd name="T3" fmla="*/ 0 h 3646"/>
                  <a:gd name="T4" fmla="*/ 1257 w 3586"/>
                  <a:gd name="T5" fmla="*/ 0 h 3646"/>
                  <a:gd name="T6" fmla="*/ 866 w 3586"/>
                  <a:gd name="T7" fmla="*/ 393 h 3646"/>
                  <a:gd name="T8" fmla="*/ 1645 w 3586"/>
                  <a:gd name="T9" fmla="*/ 1186 h 3646"/>
                  <a:gd name="T10" fmla="*/ 1162 w 3586"/>
                  <a:gd name="T11" fmla="*/ 1676 h 3646"/>
                  <a:gd name="T12" fmla="*/ 383 w 3586"/>
                  <a:gd name="T13" fmla="*/ 883 h 3646"/>
                  <a:gd name="T14" fmla="*/ 0 w 3586"/>
                  <a:gd name="T15" fmla="*/ 1274 h 3646"/>
                  <a:gd name="T16" fmla="*/ 0 w 3586"/>
                  <a:gd name="T17" fmla="*/ 0 h 3646"/>
                  <a:gd name="T18" fmla="*/ 0 w 3586"/>
                  <a:gd name="T19" fmla="*/ 0 h 3646"/>
                  <a:gd name="T20" fmla="*/ 3586 w 3586"/>
                  <a:gd name="T21" fmla="*/ 0 h 3646"/>
                  <a:gd name="T22" fmla="*/ 3586 w 3586"/>
                  <a:gd name="T23" fmla="*/ 0 h 3646"/>
                  <a:gd name="T24" fmla="*/ 2324 w 3586"/>
                  <a:gd name="T25" fmla="*/ 0 h 3646"/>
                  <a:gd name="T26" fmla="*/ 2712 w 3586"/>
                  <a:gd name="T27" fmla="*/ 393 h 3646"/>
                  <a:gd name="T28" fmla="*/ 1938 w 3586"/>
                  <a:gd name="T29" fmla="*/ 1186 h 3646"/>
                  <a:gd name="T30" fmla="*/ 2416 w 3586"/>
                  <a:gd name="T31" fmla="*/ 1676 h 3646"/>
                  <a:gd name="T32" fmla="*/ 3195 w 3586"/>
                  <a:gd name="T33" fmla="*/ 883 h 3646"/>
                  <a:gd name="T34" fmla="*/ 3586 w 3586"/>
                  <a:gd name="T35" fmla="*/ 1274 h 3646"/>
                  <a:gd name="T36" fmla="*/ 3586 w 3586"/>
                  <a:gd name="T37" fmla="*/ 0 h 3646"/>
                  <a:gd name="T38" fmla="*/ 3586 w 3586"/>
                  <a:gd name="T39" fmla="*/ 0 h 3646"/>
                  <a:gd name="T40" fmla="*/ 0 w 3586"/>
                  <a:gd name="T41" fmla="*/ 3646 h 3646"/>
                  <a:gd name="T42" fmla="*/ 0 w 3586"/>
                  <a:gd name="T43" fmla="*/ 3646 h 3646"/>
                  <a:gd name="T44" fmla="*/ 1257 w 3586"/>
                  <a:gd name="T45" fmla="*/ 3646 h 3646"/>
                  <a:gd name="T46" fmla="*/ 866 w 3586"/>
                  <a:gd name="T47" fmla="*/ 3253 h 3646"/>
                  <a:gd name="T48" fmla="*/ 1645 w 3586"/>
                  <a:gd name="T49" fmla="*/ 2455 h 3646"/>
                  <a:gd name="T50" fmla="*/ 1162 w 3586"/>
                  <a:gd name="T51" fmla="*/ 1956 h 3646"/>
                  <a:gd name="T52" fmla="*/ 383 w 3586"/>
                  <a:gd name="T53" fmla="*/ 2760 h 3646"/>
                  <a:gd name="T54" fmla="*/ 0 w 3586"/>
                  <a:gd name="T55" fmla="*/ 2365 h 3646"/>
                  <a:gd name="T56" fmla="*/ 0 w 3586"/>
                  <a:gd name="T57" fmla="*/ 3646 h 3646"/>
                  <a:gd name="T58" fmla="*/ 0 w 3586"/>
                  <a:gd name="T59" fmla="*/ 3646 h 3646"/>
                  <a:gd name="T60" fmla="*/ 3586 w 3586"/>
                  <a:gd name="T61" fmla="*/ 3646 h 3646"/>
                  <a:gd name="T62" fmla="*/ 3586 w 3586"/>
                  <a:gd name="T63" fmla="*/ 2365 h 3646"/>
                  <a:gd name="T64" fmla="*/ 3195 w 3586"/>
                  <a:gd name="T65" fmla="*/ 2760 h 3646"/>
                  <a:gd name="T66" fmla="*/ 2416 w 3586"/>
                  <a:gd name="T67" fmla="*/ 1956 h 3646"/>
                  <a:gd name="T68" fmla="*/ 1938 w 3586"/>
                  <a:gd name="T69" fmla="*/ 2455 h 3646"/>
                  <a:gd name="T70" fmla="*/ 2712 w 3586"/>
                  <a:gd name="T71" fmla="*/ 3253 h 3646"/>
                  <a:gd name="T72" fmla="*/ 2324 w 3586"/>
                  <a:gd name="T73" fmla="*/ 3646 h 3646"/>
                  <a:gd name="T74" fmla="*/ 3586 w 3586"/>
                  <a:gd name="T75" fmla="*/ 3646 h 3646"/>
                  <a:gd name="T76" fmla="*/ 3586 w 3586"/>
                  <a:gd name="T77" fmla="*/ 3646 h 3646"/>
                  <a:gd name="T78" fmla="*/ 3586 w 3586"/>
                  <a:gd name="T79" fmla="*/ 3646 h 3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586" h="3646">
                    <a:moveTo>
                      <a:pt x="0" y="0"/>
                    </a:moveTo>
                    <a:lnTo>
                      <a:pt x="0" y="0"/>
                    </a:lnTo>
                    <a:lnTo>
                      <a:pt x="1257" y="0"/>
                    </a:lnTo>
                    <a:lnTo>
                      <a:pt x="866" y="393"/>
                    </a:lnTo>
                    <a:lnTo>
                      <a:pt x="1645" y="1186"/>
                    </a:lnTo>
                    <a:lnTo>
                      <a:pt x="1162" y="1676"/>
                    </a:lnTo>
                    <a:lnTo>
                      <a:pt x="383" y="883"/>
                    </a:lnTo>
                    <a:lnTo>
                      <a:pt x="0" y="127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3586" y="0"/>
                    </a:moveTo>
                    <a:lnTo>
                      <a:pt x="3586" y="0"/>
                    </a:lnTo>
                    <a:lnTo>
                      <a:pt x="2324" y="0"/>
                    </a:lnTo>
                    <a:lnTo>
                      <a:pt x="2712" y="393"/>
                    </a:lnTo>
                    <a:lnTo>
                      <a:pt x="1938" y="1186"/>
                    </a:lnTo>
                    <a:lnTo>
                      <a:pt x="2416" y="1676"/>
                    </a:lnTo>
                    <a:lnTo>
                      <a:pt x="3195" y="883"/>
                    </a:lnTo>
                    <a:lnTo>
                      <a:pt x="3586" y="1274"/>
                    </a:lnTo>
                    <a:lnTo>
                      <a:pt x="3586" y="0"/>
                    </a:lnTo>
                    <a:lnTo>
                      <a:pt x="3586" y="0"/>
                    </a:lnTo>
                    <a:close/>
                    <a:moveTo>
                      <a:pt x="0" y="3646"/>
                    </a:moveTo>
                    <a:lnTo>
                      <a:pt x="0" y="3646"/>
                    </a:lnTo>
                    <a:lnTo>
                      <a:pt x="1257" y="3646"/>
                    </a:lnTo>
                    <a:lnTo>
                      <a:pt x="866" y="3253"/>
                    </a:lnTo>
                    <a:lnTo>
                      <a:pt x="1645" y="2455"/>
                    </a:lnTo>
                    <a:lnTo>
                      <a:pt x="1162" y="1956"/>
                    </a:lnTo>
                    <a:lnTo>
                      <a:pt x="383" y="2760"/>
                    </a:lnTo>
                    <a:lnTo>
                      <a:pt x="0" y="2365"/>
                    </a:lnTo>
                    <a:lnTo>
                      <a:pt x="0" y="3646"/>
                    </a:lnTo>
                    <a:lnTo>
                      <a:pt x="0" y="3646"/>
                    </a:lnTo>
                    <a:close/>
                    <a:moveTo>
                      <a:pt x="3586" y="3646"/>
                    </a:moveTo>
                    <a:lnTo>
                      <a:pt x="3586" y="2365"/>
                    </a:lnTo>
                    <a:lnTo>
                      <a:pt x="3195" y="2760"/>
                    </a:lnTo>
                    <a:lnTo>
                      <a:pt x="2416" y="1956"/>
                    </a:lnTo>
                    <a:lnTo>
                      <a:pt x="1938" y="2455"/>
                    </a:lnTo>
                    <a:lnTo>
                      <a:pt x="2712" y="3253"/>
                    </a:lnTo>
                    <a:lnTo>
                      <a:pt x="2324" y="3646"/>
                    </a:lnTo>
                    <a:lnTo>
                      <a:pt x="3586" y="3646"/>
                    </a:lnTo>
                    <a:lnTo>
                      <a:pt x="3586" y="3646"/>
                    </a:lnTo>
                    <a:lnTo>
                      <a:pt x="3586" y="364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Group 25"/>
            <p:cNvGrpSpPr/>
            <p:nvPr/>
          </p:nvGrpSpPr>
          <p:grpSpPr>
            <a:xfrm>
              <a:off x="640616" y="2874640"/>
              <a:ext cx="2818592" cy="2077697"/>
              <a:chOff x="8829675" y="-2941137"/>
              <a:chExt cx="3920941" cy="3215775"/>
            </a:xfrm>
            <a:solidFill>
              <a:schemeClr val="accent1"/>
            </a:solidFill>
          </p:grpSpPr>
          <p:sp>
            <p:nvSpPr>
              <p:cNvPr id="14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" name="Freeform 6"/>
              <p:cNvSpPr>
                <a:spLocks noEditPoints="1"/>
              </p:cNvSpPr>
              <p:nvPr/>
            </p:nvSpPr>
            <p:spPr bwMode="auto">
              <a:xfrm>
                <a:off x="11777478" y="-2941137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8" name="Group 17"/>
          <p:cNvGrpSpPr/>
          <p:nvPr/>
        </p:nvGrpSpPr>
        <p:grpSpPr>
          <a:xfrm>
            <a:off x="4160881" y="2818618"/>
            <a:ext cx="1868816" cy="3747869"/>
            <a:chOff x="4244315" y="2874640"/>
            <a:chExt cx="1906290" cy="3823022"/>
          </a:xfrm>
        </p:grpSpPr>
        <p:grpSp>
          <p:nvGrpSpPr>
            <p:cNvPr id="19" name="Group 11"/>
            <p:cNvGrpSpPr/>
            <p:nvPr/>
          </p:nvGrpSpPr>
          <p:grpSpPr>
            <a:xfrm>
              <a:off x="4244315" y="3686475"/>
              <a:ext cx="1906290" cy="3011187"/>
              <a:chOff x="4244315" y="3686475"/>
              <a:chExt cx="1906290" cy="3011187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4244315" y="3686475"/>
                <a:ext cx="1906290" cy="3011187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179285" tIns="143428" rIns="179285" bIns="143428" rtlCol="0">
                <a:normAutofit/>
              </a:bodyPr>
              <a:lstStyle>
                <a:defPPr>
                  <a:defRPr lang="en-US"/>
                </a:defPPr>
                <a:lvl1pPr>
                  <a:spcBef>
                    <a:spcPct val="20000"/>
                  </a:spcBef>
                  <a:defRPr sz="220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defRPr>
                </a:lvl1pPr>
              </a:lstStyle>
              <a:p>
                <a:pPr>
                  <a:lnSpc>
                    <a:spcPct val="90000"/>
                  </a:lnSpc>
                </a:pPr>
                <a:r>
                  <a:rPr lang="en-US" sz="1961" b="1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Sensors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</a:rPr>
                  <a:t>Discover patterns in </a:t>
                </a:r>
                <a:b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</a:rPr>
                </a:b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</a:rPr>
                  <a:t>data streaming automatically from remote sensors and machines</a:t>
                </a:r>
              </a:p>
            </p:txBody>
          </p:sp>
          <p:sp>
            <p:nvSpPr>
              <p:cNvPr id="24" name="Freeform 36"/>
              <p:cNvSpPr>
                <a:spLocks noChangeAspect="1" noEditPoints="1"/>
              </p:cNvSpPr>
              <p:nvPr/>
            </p:nvSpPr>
            <p:spPr bwMode="auto">
              <a:xfrm>
                <a:off x="5214121" y="5847552"/>
                <a:ext cx="779291" cy="715126"/>
              </a:xfrm>
              <a:custGeom>
                <a:avLst/>
                <a:gdLst>
                  <a:gd name="T0" fmla="*/ 1145 w 2054"/>
                  <a:gd name="T1" fmla="*/ 1181 h 1884"/>
                  <a:gd name="T2" fmla="*/ 1362 w 2054"/>
                  <a:gd name="T3" fmla="*/ 1063 h 1884"/>
                  <a:gd name="T4" fmla="*/ 1362 w 2054"/>
                  <a:gd name="T5" fmla="*/ 823 h 1884"/>
                  <a:gd name="T6" fmla="*/ 1145 w 2054"/>
                  <a:gd name="T7" fmla="*/ 700 h 1884"/>
                  <a:gd name="T8" fmla="*/ 1245 w 2054"/>
                  <a:gd name="T9" fmla="*/ 557 h 1884"/>
                  <a:gd name="T10" fmla="*/ 1047 w 2054"/>
                  <a:gd name="T11" fmla="*/ 385 h 1884"/>
                  <a:gd name="T12" fmla="*/ 816 w 2054"/>
                  <a:gd name="T13" fmla="*/ 283 h 1884"/>
                  <a:gd name="T14" fmla="*/ 585 w 2054"/>
                  <a:gd name="T15" fmla="*/ 257 h 1884"/>
                  <a:gd name="T16" fmla="*/ 446 w 2054"/>
                  <a:gd name="T17" fmla="*/ 481 h 1884"/>
                  <a:gd name="T18" fmla="*/ 216 w 2054"/>
                  <a:gd name="T19" fmla="*/ 441 h 1884"/>
                  <a:gd name="T20" fmla="*/ 128 w 2054"/>
                  <a:gd name="T21" fmla="*/ 579 h 1884"/>
                  <a:gd name="T22" fmla="*/ 24 w 2054"/>
                  <a:gd name="T23" fmla="*/ 809 h 1884"/>
                  <a:gd name="T24" fmla="*/ 0 w 2054"/>
                  <a:gd name="T25" fmla="*/ 1039 h 1884"/>
                  <a:gd name="T26" fmla="*/ 188 w 2054"/>
                  <a:gd name="T27" fmla="*/ 1096 h 1884"/>
                  <a:gd name="T28" fmla="*/ 131 w 2054"/>
                  <a:gd name="T29" fmla="*/ 1305 h 1884"/>
                  <a:gd name="T30" fmla="*/ 300 w 2054"/>
                  <a:gd name="T31" fmla="*/ 1505 h 1884"/>
                  <a:gd name="T32" fmla="*/ 528 w 2054"/>
                  <a:gd name="T33" fmla="*/ 1436 h 1884"/>
                  <a:gd name="T34" fmla="*/ 585 w 2054"/>
                  <a:gd name="T35" fmla="*/ 1626 h 1884"/>
                  <a:gd name="T36" fmla="*/ 841 w 2054"/>
                  <a:gd name="T37" fmla="*/ 1435 h 1884"/>
                  <a:gd name="T38" fmla="*/ 1069 w 2054"/>
                  <a:gd name="T39" fmla="*/ 1505 h 1884"/>
                  <a:gd name="T40" fmla="*/ 1249 w 2054"/>
                  <a:gd name="T41" fmla="*/ 1326 h 1884"/>
                  <a:gd name="T42" fmla="*/ 491 w 2054"/>
                  <a:gd name="T43" fmla="*/ 1135 h 1884"/>
                  <a:gd name="T44" fmla="*/ 685 w 2054"/>
                  <a:gd name="T45" fmla="*/ 668 h 1884"/>
                  <a:gd name="T46" fmla="*/ 878 w 2054"/>
                  <a:gd name="T47" fmla="*/ 1135 h 1884"/>
                  <a:gd name="T48" fmla="*/ 1917 w 2054"/>
                  <a:gd name="T49" fmla="*/ 1178 h 1884"/>
                  <a:gd name="T50" fmla="*/ 1774 w 2054"/>
                  <a:gd name="T51" fmla="*/ 1098 h 1884"/>
                  <a:gd name="T52" fmla="*/ 1611 w 2054"/>
                  <a:gd name="T53" fmla="*/ 1218 h 1884"/>
                  <a:gd name="T54" fmla="*/ 1474 w 2054"/>
                  <a:gd name="T55" fmla="*/ 1113 h 1884"/>
                  <a:gd name="T56" fmla="*/ 1369 w 2054"/>
                  <a:gd name="T57" fmla="*/ 1178 h 1884"/>
                  <a:gd name="T58" fmla="*/ 1232 w 2054"/>
                  <a:gd name="T59" fmla="*/ 1414 h 1884"/>
                  <a:gd name="T60" fmla="*/ 1424 w 2054"/>
                  <a:gd name="T61" fmla="*/ 1653 h 1884"/>
                  <a:gd name="T62" fmla="*/ 1506 w 2054"/>
                  <a:gd name="T63" fmla="*/ 1884 h 1884"/>
                  <a:gd name="T64" fmla="*/ 1643 w 2054"/>
                  <a:gd name="T65" fmla="*/ 1763 h 1884"/>
                  <a:gd name="T66" fmla="*/ 1780 w 2054"/>
                  <a:gd name="T67" fmla="*/ 1884 h 1884"/>
                  <a:gd name="T68" fmla="*/ 1863 w 2054"/>
                  <a:gd name="T69" fmla="*/ 1653 h 1884"/>
                  <a:gd name="T70" fmla="*/ 2054 w 2054"/>
                  <a:gd name="T71" fmla="*/ 1414 h 1884"/>
                  <a:gd name="T72" fmla="*/ 1643 w 2054"/>
                  <a:gd name="T73" fmla="*/ 1626 h 1884"/>
                  <a:gd name="T74" fmla="*/ 1547 w 2054"/>
                  <a:gd name="T75" fmla="*/ 1393 h 1884"/>
                  <a:gd name="T76" fmla="*/ 1780 w 2054"/>
                  <a:gd name="T77" fmla="*/ 1489 h 1884"/>
                  <a:gd name="T78" fmla="*/ 1863 w 2054"/>
                  <a:gd name="T79" fmla="*/ 230 h 1884"/>
                  <a:gd name="T80" fmla="*/ 1780 w 2054"/>
                  <a:gd name="T81" fmla="*/ 0 h 1884"/>
                  <a:gd name="T82" fmla="*/ 1643 w 2054"/>
                  <a:gd name="T83" fmla="*/ 120 h 1884"/>
                  <a:gd name="T84" fmla="*/ 1506 w 2054"/>
                  <a:gd name="T85" fmla="*/ 0 h 1884"/>
                  <a:gd name="T86" fmla="*/ 1374 w 2054"/>
                  <a:gd name="T87" fmla="*/ 75 h 1884"/>
                  <a:gd name="T88" fmla="*/ 1392 w 2054"/>
                  <a:gd name="T89" fmla="*/ 285 h 1884"/>
                  <a:gd name="T90" fmla="*/ 1392 w 2054"/>
                  <a:gd name="T91" fmla="*/ 502 h 1884"/>
                  <a:gd name="T92" fmla="*/ 1374 w 2054"/>
                  <a:gd name="T93" fmla="*/ 712 h 1884"/>
                  <a:gd name="T94" fmla="*/ 1611 w 2054"/>
                  <a:gd name="T95" fmla="*/ 665 h 1884"/>
                  <a:gd name="T96" fmla="*/ 1731 w 2054"/>
                  <a:gd name="T97" fmla="*/ 738 h 1884"/>
                  <a:gd name="T98" fmla="*/ 1917 w 2054"/>
                  <a:gd name="T99" fmla="*/ 705 h 1884"/>
                  <a:gd name="T100" fmla="*/ 2054 w 2054"/>
                  <a:gd name="T101" fmla="*/ 468 h 1884"/>
                  <a:gd name="T102" fmla="*/ 1740 w 2054"/>
                  <a:gd name="T103" fmla="*/ 490 h 1884"/>
                  <a:gd name="T104" fmla="*/ 1506 w 2054"/>
                  <a:gd name="T105" fmla="*/ 394 h 1884"/>
                  <a:gd name="T106" fmla="*/ 1740 w 2054"/>
                  <a:gd name="T107" fmla="*/ 297 h 1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54" h="1884">
                    <a:moveTo>
                      <a:pt x="1249" y="1326"/>
                    </a:moveTo>
                    <a:cubicBezTo>
                      <a:pt x="1249" y="1319"/>
                      <a:pt x="1246" y="1311"/>
                      <a:pt x="1241" y="1304"/>
                    </a:cubicBezTo>
                    <a:cubicBezTo>
                      <a:pt x="1201" y="1256"/>
                      <a:pt x="1169" y="1215"/>
                      <a:pt x="1145" y="1181"/>
                    </a:cubicBezTo>
                    <a:cubicBezTo>
                      <a:pt x="1160" y="1152"/>
                      <a:pt x="1171" y="1125"/>
                      <a:pt x="1179" y="1100"/>
                    </a:cubicBezTo>
                    <a:cubicBezTo>
                      <a:pt x="1345" y="1074"/>
                      <a:pt x="1345" y="1074"/>
                      <a:pt x="1345" y="1074"/>
                    </a:cubicBezTo>
                    <a:cubicBezTo>
                      <a:pt x="1351" y="1073"/>
                      <a:pt x="1357" y="1070"/>
                      <a:pt x="1362" y="1063"/>
                    </a:cubicBezTo>
                    <a:cubicBezTo>
                      <a:pt x="1367" y="1056"/>
                      <a:pt x="1369" y="1049"/>
                      <a:pt x="1369" y="1042"/>
                    </a:cubicBezTo>
                    <a:cubicBezTo>
                      <a:pt x="1369" y="844"/>
                      <a:pt x="1369" y="844"/>
                      <a:pt x="1369" y="844"/>
                    </a:cubicBezTo>
                    <a:cubicBezTo>
                      <a:pt x="1369" y="836"/>
                      <a:pt x="1367" y="829"/>
                      <a:pt x="1362" y="823"/>
                    </a:cubicBezTo>
                    <a:cubicBezTo>
                      <a:pt x="1357" y="817"/>
                      <a:pt x="1351" y="813"/>
                      <a:pt x="1344" y="812"/>
                    </a:cubicBezTo>
                    <a:cubicBezTo>
                      <a:pt x="1181" y="787"/>
                      <a:pt x="1181" y="787"/>
                      <a:pt x="1181" y="787"/>
                    </a:cubicBezTo>
                    <a:cubicBezTo>
                      <a:pt x="1173" y="763"/>
                      <a:pt x="1161" y="734"/>
                      <a:pt x="1145" y="700"/>
                    </a:cubicBezTo>
                    <a:cubicBezTo>
                      <a:pt x="1155" y="684"/>
                      <a:pt x="1171" y="663"/>
                      <a:pt x="1193" y="635"/>
                    </a:cubicBezTo>
                    <a:cubicBezTo>
                      <a:pt x="1214" y="608"/>
                      <a:pt x="1229" y="589"/>
                      <a:pt x="1238" y="578"/>
                    </a:cubicBezTo>
                    <a:cubicBezTo>
                      <a:pt x="1243" y="571"/>
                      <a:pt x="1245" y="564"/>
                      <a:pt x="1245" y="557"/>
                    </a:cubicBezTo>
                    <a:cubicBezTo>
                      <a:pt x="1245" y="538"/>
                      <a:pt x="1194" y="481"/>
                      <a:pt x="1091" y="386"/>
                    </a:cubicBezTo>
                    <a:cubicBezTo>
                      <a:pt x="1084" y="380"/>
                      <a:pt x="1077" y="378"/>
                      <a:pt x="1069" y="378"/>
                    </a:cubicBezTo>
                    <a:cubicBezTo>
                      <a:pt x="1060" y="378"/>
                      <a:pt x="1053" y="380"/>
                      <a:pt x="1047" y="385"/>
                    </a:cubicBezTo>
                    <a:cubicBezTo>
                      <a:pt x="921" y="480"/>
                      <a:pt x="921" y="480"/>
                      <a:pt x="921" y="480"/>
                    </a:cubicBezTo>
                    <a:cubicBezTo>
                      <a:pt x="892" y="465"/>
                      <a:pt x="865" y="454"/>
                      <a:pt x="841" y="447"/>
                    </a:cubicBezTo>
                    <a:cubicBezTo>
                      <a:pt x="816" y="283"/>
                      <a:pt x="816" y="283"/>
                      <a:pt x="816" y="283"/>
                    </a:cubicBezTo>
                    <a:cubicBezTo>
                      <a:pt x="815" y="276"/>
                      <a:pt x="812" y="270"/>
                      <a:pt x="805" y="265"/>
                    </a:cubicBezTo>
                    <a:cubicBezTo>
                      <a:pt x="799" y="259"/>
                      <a:pt x="792" y="257"/>
                      <a:pt x="784" y="257"/>
                    </a:cubicBezTo>
                    <a:cubicBezTo>
                      <a:pt x="585" y="257"/>
                      <a:pt x="585" y="257"/>
                      <a:pt x="585" y="257"/>
                    </a:cubicBezTo>
                    <a:cubicBezTo>
                      <a:pt x="569" y="257"/>
                      <a:pt x="558" y="265"/>
                      <a:pt x="553" y="282"/>
                    </a:cubicBezTo>
                    <a:cubicBezTo>
                      <a:pt x="544" y="315"/>
                      <a:pt x="536" y="370"/>
                      <a:pt x="528" y="447"/>
                    </a:cubicBezTo>
                    <a:cubicBezTo>
                      <a:pt x="498" y="457"/>
                      <a:pt x="470" y="468"/>
                      <a:pt x="446" y="481"/>
                    </a:cubicBezTo>
                    <a:cubicBezTo>
                      <a:pt x="323" y="385"/>
                      <a:pt x="323" y="385"/>
                      <a:pt x="323" y="385"/>
                    </a:cubicBezTo>
                    <a:cubicBezTo>
                      <a:pt x="316" y="380"/>
                      <a:pt x="308" y="378"/>
                      <a:pt x="300" y="378"/>
                    </a:cubicBezTo>
                    <a:cubicBezTo>
                      <a:pt x="287" y="378"/>
                      <a:pt x="259" y="399"/>
                      <a:pt x="216" y="441"/>
                    </a:cubicBezTo>
                    <a:cubicBezTo>
                      <a:pt x="173" y="483"/>
                      <a:pt x="144" y="515"/>
                      <a:pt x="128" y="536"/>
                    </a:cubicBezTo>
                    <a:cubicBezTo>
                      <a:pt x="123" y="542"/>
                      <a:pt x="121" y="549"/>
                      <a:pt x="121" y="557"/>
                    </a:cubicBezTo>
                    <a:cubicBezTo>
                      <a:pt x="121" y="564"/>
                      <a:pt x="123" y="571"/>
                      <a:pt x="128" y="579"/>
                    </a:cubicBezTo>
                    <a:cubicBezTo>
                      <a:pt x="168" y="627"/>
                      <a:pt x="200" y="668"/>
                      <a:pt x="224" y="702"/>
                    </a:cubicBezTo>
                    <a:cubicBezTo>
                      <a:pt x="209" y="731"/>
                      <a:pt x="198" y="758"/>
                      <a:pt x="190" y="783"/>
                    </a:cubicBezTo>
                    <a:cubicBezTo>
                      <a:pt x="24" y="809"/>
                      <a:pt x="24" y="809"/>
                      <a:pt x="24" y="809"/>
                    </a:cubicBezTo>
                    <a:cubicBezTo>
                      <a:pt x="18" y="809"/>
                      <a:pt x="12" y="813"/>
                      <a:pt x="7" y="820"/>
                    </a:cubicBezTo>
                    <a:cubicBezTo>
                      <a:pt x="2" y="827"/>
                      <a:pt x="0" y="834"/>
                      <a:pt x="0" y="841"/>
                    </a:cubicBezTo>
                    <a:cubicBezTo>
                      <a:pt x="0" y="1039"/>
                      <a:pt x="0" y="1039"/>
                      <a:pt x="0" y="1039"/>
                    </a:cubicBezTo>
                    <a:cubicBezTo>
                      <a:pt x="0" y="1047"/>
                      <a:pt x="2" y="1054"/>
                      <a:pt x="7" y="1060"/>
                    </a:cubicBezTo>
                    <a:cubicBezTo>
                      <a:pt x="12" y="1066"/>
                      <a:pt x="18" y="1069"/>
                      <a:pt x="25" y="1070"/>
                    </a:cubicBezTo>
                    <a:cubicBezTo>
                      <a:pt x="188" y="1096"/>
                      <a:pt x="188" y="1096"/>
                      <a:pt x="188" y="1096"/>
                    </a:cubicBezTo>
                    <a:cubicBezTo>
                      <a:pt x="197" y="1123"/>
                      <a:pt x="209" y="1152"/>
                      <a:pt x="225" y="1183"/>
                    </a:cubicBezTo>
                    <a:cubicBezTo>
                      <a:pt x="214" y="1199"/>
                      <a:pt x="197" y="1221"/>
                      <a:pt x="175" y="1249"/>
                    </a:cubicBezTo>
                    <a:cubicBezTo>
                      <a:pt x="153" y="1276"/>
                      <a:pt x="138" y="1295"/>
                      <a:pt x="131" y="1305"/>
                    </a:cubicBezTo>
                    <a:cubicBezTo>
                      <a:pt x="126" y="1312"/>
                      <a:pt x="124" y="1319"/>
                      <a:pt x="124" y="1326"/>
                    </a:cubicBezTo>
                    <a:cubicBezTo>
                      <a:pt x="124" y="1345"/>
                      <a:pt x="175" y="1402"/>
                      <a:pt x="278" y="1497"/>
                    </a:cubicBezTo>
                    <a:cubicBezTo>
                      <a:pt x="285" y="1503"/>
                      <a:pt x="293" y="1505"/>
                      <a:pt x="300" y="1505"/>
                    </a:cubicBezTo>
                    <a:cubicBezTo>
                      <a:pt x="310" y="1505"/>
                      <a:pt x="317" y="1503"/>
                      <a:pt x="322" y="1498"/>
                    </a:cubicBezTo>
                    <a:cubicBezTo>
                      <a:pt x="448" y="1403"/>
                      <a:pt x="448" y="1403"/>
                      <a:pt x="448" y="1403"/>
                    </a:cubicBezTo>
                    <a:cubicBezTo>
                      <a:pt x="477" y="1418"/>
                      <a:pt x="504" y="1429"/>
                      <a:pt x="528" y="1436"/>
                    </a:cubicBezTo>
                    <a:cubicBezTo>
                      <a:pt x="553" y="1600"/>
                      <a:pt x="553" y="1600"/>
                      <a:pt x="553" y="1600"/>
                    </a:cubicBezTo>
                    <a:cubicBezTo>
                      <a:pt x="554" y="1607"/>
                      <a:pt x="557" y="1613"/>
                      <a:pt x="564" y="1618"/>
                    </a:cubicBezTo>
                    <a:cubicBezTo>
                      <a:pt x="570" y="1624"/>
                      <a:pt x="577" y="1626"/>
                      <a:pt x="585" y="1626"/>
                    </a:cubicBezTo>
                    <a:cubicBezTo>
                      <a:pt x="784" y="1626"/>
                      <a:pt x="784" y="1626"/>
                      <a:pt x="784" y="1626"/>
                    </a:cubicBezTo>
                    <a:cubicBezTo>
                      <a:pt x="800" y="1626"/>
                      <a:pt x="811" y="1618"/>
                      <a:pt x="816" y="1601"/>
                    </a:cubicBezTo>
                    <a:cubicBezTo>
                      <a:pt x="825" y="1567"/>
                      <a:pt x="833" y="1512"/>
                      <a:pt x="841" y="1435"/>
                    </a:cubicBezTo>
                    <a:cubicBezTo>
                      <a:pt x="869" y="1426"/>
                      <a:pt x="897" y="1415"/>
                      <a:pt x="923" y="1402"/>
                    </a:cubicBezTo>
                    <a:cubicBezTo>
                      <a:pt x="1046" y="1498"/>
                      <a:pt x="1046" y="1498"/>
                      <a:pt x="1046" y="1498"/>
                    </a:cubicBezTo>
                    <a:cubicBezTo>
                      <a:pt x="1053" y="1503"/>
                      <a:pt x="1061" y="1505"/>
                      <a:pt x="1069" y="1505"/>
                    </a:cubicBezTo>
                    <a:cubicBezTo>
                      <a:pt x="1082" y="1505"/>
                      <a:pt x="1110" y="1484"/>
                      <a:pt x="1153" y="1442"/>
                    </a:cubicBezTo>
                    <a:cubicBezTo>
                      <a:pt x="1195" y="1399"/>
                      <a:pt x="1225" y="1367"/>
                      <a:pt x="1241" y="1346"/>
                    </a:cubicBezTo>
                    <a:cubicBezTo>
                      <a:pt x="1246" y="1341"/>
                      <a:pt x="1249" y="1334"/>
                      <a:pt x="1249" y="1326"/>
                    </a:cubicBezTo>
                    <a:close/>
                    <a:moveTo>
                      <a:pt x="878" y="1135"/>
                    </a:moveTo>
                    <a:cubicBezTo>
                      <a:pt x="825" y="1189"/>
                      <a:pt x="760" y="1215"/>
                      <a:pt x="685" y="1215"/>
                    </a:cubicBezTo>
                    <a:cubicBezTo>
                      <a:pt x="609" y="1215"/>
                      <a:pt x="544" y="1189"/>
                      <a:pt x="491" y="1135"/>
                    </a:cubicBezTo>
                    <a:cubicBezTo>
                      <a:pt x="437" y="1082"/>
                      <a:pt x="411" y="1017"/>
                      <a:pt x="411" y="941"/>
                    </a:cubicBezTo>
                    <a:cubicBezTo>
                      <a:pt x="411" y="866"/>
                      <a:pt x="437" y="801"/>
                      <a:pt x="491" y="748"/>
                    </a:cubicBezTo>
                    <a:cubicBezTo>
                      <a:pt x="544" y="694"/>
                      <a:pt x="609" y="668"/>
                      <a:pt x="685" y="668"/>
                    </a:cubicBezTo>
                    <a:cubicBezTo>
                      <a:pt x="760" y="668"/>
                      <a:pt x="825" y="694"/>
                      <a:pt x="878" y="748"/>
                    </a:cubicBezTo>
                    <a:cubicBezTo>
                      <a:pt x="932" y="801"/>
                      <a:pt x="958" y="866"/>
                      <a:pt x="958" y="941"/>
                    </a:cubicBezTo>
                    <a:cubicBezTo>
                      <a:pt x="958" y="1017"/>
                      <a:pt x="932" y="1082"/>
                      <a:pt x="878" y="1135"/>
                    </a:cubicBezTo>
                    <a:close/>
                    <a:moveTo>
                      <a:pt x="1895" y="1381"/>
                    </a:moveTo>
                    <a:cubicBezTo>
                      <a:pt x="1886" y="1361"/>
                      <a:pt x="1875" y="1342"/>
                      <a:pt x="1863" y="1326"/>
                    </a:cubicBezTo>
                    <a:cubicBezTo>
                      <a:pt x="1899" y="1245"/>
                      <a:pt x="1917" y="1196"/>
                      <a:pt x="1917" y="1178"/>
                    </a:cubicBezTo>
                    <a:cubicBezTo>
                      <a:pt x="1917" y="1175"/>
                      <a:pt x="1916" y="1173"/>
                      <a:pt x="1913" y="1170"/>
                    </a:cubicBezTo>
                    <a:cubicBezTo>
                      <a:pt x="1827" y="1121"/>
                      <a:pt x="1783" y="1096"/>
                      <a:pt x="1780" y="1096"/>
                    </a:cubicBezTo>
                    <a:cubicBezTo>
                      <a:pt x="1774" y="1098"/>
                      <a:pt x="1774" y="1098"/>
                      <a:pt x="1774" y="1098"/>
                    </a:cubicBezTo>
                    <a:cubicBezTo>
                      <a:pt x="1745" y="1127"/>
                      <a:pt x="1712" y="1167"/>
                      <a:pt x="1675" y="1218"/>
                    </a:cubicBezTo>
                    <a:cubicBezTo>
                      <a:pt x="1661" y="1216"/>
                      <a:pt x="1651" y="1215"/>
                      <a:pt x="1643" y="1215"/>
                    </a:cubicBezTo>
                    <a:cubicBezTo>
                      <a:pt x="1636" y="1215"/>
                      <a:pt x="1626" y="1216"/>
                      <a:pt x="1611" y="1218"/>
                    </a:cubicBezTo>
                    <a:cubicBezTo>
                      <a:pt x="1601" y="1203"/>
                      <a:pt x="1583" y="1179"/>
                      <a:pt x="1556" y="1145"/>
                    </a:cubicBezTo>
                    <a:cubicBezTo>
                      <a:pt x="1529" y="1112"/>
                      <a:pt x="1512" y="1096"/>
                      <a:pt x="1506" y="1096"/>
                    </a:cubicBezTo>
                    <a:cubicBezTo>
                      <a:pt x="1505" y="1096"/>
                      <a:pt x="1494" y="1101"/>
                      <a:pt x="1474" y="1113"/>
                    </a:cubicBezTo>
                    <a:cubicBezTo>
                      <a:pt x="1454" y="1124"/>
                      <a:pt x="1433" y="1136"/>
                      <a:pt x="1411" y="1149"/>
                    </a:cubicBezTo>
                    <a:cubicBezTo>
                      <a:pt x="1389" y="1162"/>
                      <a:pt x="1377" y="1169"/>
                      <a:pt x="1374" y="1171"/>
                    </a:cubicBezTo>
                    <a:cubicBezTo>
                      <a:pt x="1371" y="1173"/>
                      <a:pt x="1369" y="1175"/>
                      <a:pt x="1369" y="1178"/>
                    </a:cubicBezTo>
                    <a:cubicBezTo>
                      <a:pt x="1369" y="1196"/>
                      <a:pt x="1388" y="1245"/>
                      <a:pt x="1424" y="1326"/>
                    </a:cubicBezTo>
                    <a:cubicBezTo>
                      <a:pt x="1412" y="1342"/>
                      <a:pt x="1401" y="1361"/>
                      <a:pt x="1392" y="1381"/>
                    </a:cubicBezTo>
                    <a:cubicBezTo>
                      <a:pt x="1286" y="1392"/>
                      <a:pt x="1232" y="1403"/>
                      <a:pt x="1232" y="1414"/>
                    </a:cubicBezTo>
                    <a:cubicBezTo>
                      <a:pt x="1232" y="1564"/>
                      <a:pt x="1232" y="1564"/>
                      <a:pt x="1232" y="1564"/>
                    </a:cubicBezTo>
                    <a:cubicBezTo>
                      <a:pt x="1232" y="1576"/>
                      <a:pt x="1286" y="1587"/>
                      <a:pt x="1392" y="1597"/>
                    </a:cubicBezTo>
                    <a:cubicBezTo>
                      <a:pt x="1400" y="1617"/>
                      <a:pt x="1411" y="1635"/>
                      <a:pt x="1424" y="1653"/>
                    </a:cubicBezTo>
                    <a:cubicBezTo>
                      <a:pt x="1388" y="1734"/>
                      <a:pt x="1369" y="1783"/>
                      <a:pt x="1369" y="1801"/>
                    </a:cubicBezTo>
                    <a:cubicBezTo>
                      <a:pt x="1369" y="1804"/>
                      <a:pt x="1371" y="1806"/>
                      <a:pt x="1374" y="1808"/>
                    </a:cubicBezTo>
                    <a:cubicBezTo>
                      <a:pt x="1461" y="1859"/>
                      <a:pt x="1505" y="1884"/>
                      <a:pt x="1506" y="1884"/>
                    </a:cubicBezTo>
                    <a:cubicBezTo>
                      <a:pt x="1512" y="1884"/>
                      <a:pt x="1529" y="1867"/>
                      <a:pt x="1556" y="1834"/>
                    </a:cubicBezTo>
                    <a:cubicBezTo>
                      <a:pt x="1583" y="1800"/>
                      <a:pt x="1601" y="1776"/>
                      <a:pt x="1611" y="1761"/>
                    </a:cubicBezTo>
                    <a:cubicBezTo>
                      <a:pt x="1626" y="1763"/>
                      <a:pt x="1636" y="1763"/>
                      <a:pt x="1643" y="1763"/>
                    </a:cubicBezTo>
                    <a:cubicBezTo>
                      <a:pt x="1651" y="1763"/>
                      <a:pt x="1661" y="1763"/>
                      <a:pt x="1675" y="1761"/>
                    </a:cubicBezTo>
                    <a:cubicBezTo>
                      <a:pt x="1685" y="1776"/>
                      <a:pt x="1704" y="1800"/>
                      <a:pt x="1731" y="1834"/>
                    </a:cubicBezTo>
                    <a:cubicBezTo>
                      <a:pt x="1758" y="1867"/>
                      <a:pt x="1775" y="1884"/>
                      <a:pt x="1780" y="1884"/>
                    </a:cubicBezTo>
                    <a:cubicBezTo>
                      <a:pt x="1782" y="1884"/>
                      <a:pt x="1826" y="1859"/>
                      <a:pt x="1913" y="1808"/>
                    </a:cubicBezTo>
                    <a:cubicBezTo>
                      <a:pt x="1916" y="1806"/>
                      <a:pt x="1917" y="1804"/>
                      <a:pt x="1917" y="1801"/>
                    </a:cubicBezTo>
                    <a:cubicBezTo>
                      <a:pt x="1917" y="1783"/>
                      <a:pt x="1899" y="1734"/>
                      <a:pt x="1863" y="1653"/>
                    </a:cubicBezTo>
                    <a:cubicBezTo>
                      <a:pt x="1876" y="1635"/>
                      <a:pt x="1886" y="1617"/>
                      <a:pt x="1895" y="1597"/>
                    </a:cubicBezTo>
                    <a:cubicBezTo>
                      <a:pt x="2001" y="1587"/>
                      <a:pt x="2054" y="1576"/>
                      <a:pt x="2054" y="1564"/>
                    </a:cubicBezTo>
                    <a:cubicBezTo>
                      <a:pt x="2054" y="1414"/>
                      <a:pt x="2054" y="1414"/>
                      <a:pt x="2054" y="1414"/>
                    </a:cubicBezTo>
                    <a:cubicBezTo>
                      <a:pt x="2054" y="1403"/>
                      <a:pt x="2001" y="1392"/>
                      <a:pt x="1895" y="1381"/>
                    </a:cubicBezTo>
                    <a:close/>
                    <a:moveTo>
                      <a:pt x="1740" y="1586"/>
                    </a:moveTo>
                    <a:cubicBezTo>
                      <a:pt x="1713" y="1613"/>
                      <a:pt x="1681" y="1626"/>
                      <a:pt x="1643" y="1626"/>
                    </a:cubicBezTo>
                    <a:cubicBezTo>
                      <a:pt x="1606" y="1626"/>
                      <a:pt x="1573" y="1613"/>
                      <a:pt x="1547" y="1586"/>
                    </a:cubicBezTo>
                    <a:cubicBezTo>
                      <a:pt x="1520" y="1559"/>
                      <a:pt x="1506" y="1527"/>
                      <a:pt x="1506" y="1489"/>
                    </a:cubicBezTo>
                    <a:cubicBezTo>
                      <a:pt x="1506" y="1452"/>
                      <a:pt x="1520" y="1420"/>
                      <a:pt x="1547" y="1393"/>
                    </a:cubicBezTo>
                    <a:cubicBezTo>
                      <a:pt x="1574" y="1366"/>
                      <a:pt x="1606" y="1352"/>
                      <a:pt x="1643" y="1352"/>
                    </a:cubicBezTo>
                    <a:cubicBezTo>
                      <a:pt x="1680" y="1352"/>
                      <a:pt x="1713" y="1366"/>
                      <a:pt x="1740" y="1393"/>
                    </a:cubicBezTo>
                    <a:cubicBezTo>
                      <a:pt x="1767" y="1420"/>
                      <a:pt x="1780" y="1452"/>
                      <a:pt x="1780" y="1489"/>
                    </a:cubicBezTo>
                    <a:cubicBezTo>
                      <a:pt x="1780" y="1527"/>
                      <a:pt x="1767" y="1559"/>
                      <a:pt x="1740" y="1586"/>
                    </a:cubicBezTo>
                    <a:close/>
                    <a:moveTo>
                      <a:pt x="1895" y="285"/>
                    </a:moveTo>
                    <a:cubicBezTo>
                      <a:pt x="1886" y="265"/>
                      <a:pt x="1875" y="246"/>
                      <a:pt x="1863" y="230"/>
                    </a:cubicBezTo>
                    <a:cubicBezTo>
                      <a:pt x="1899" y="149"/>
                      <a:pt x="1917" y="100"/>
                      <a:pt x="1917" y="82"/>
                    </a:cubicBezTo>
                    <a:cubicBezTo>
                      <a:pt x="1917" y="79"/>
                      <a:pt x="1916" y="77"/>
                      <a:pt x="1913" y="75"/>
                    </a:cubicBezTo>
                    <a:cubicBezTo>
                      <a:pt x="1827" y="25"/>
                      <a:pt x="1783" y="0"/>
                      <a:pt x="1780" y="0"/>
                    </a:cubicBezTo>
                    <a:cubicBezTo>
                      <a:pt x="1774" y="2"/>
                      <a:pt x="1774" y="2"/>
                      <a:pt x="1774" y="2"/>
                    </a:cubicBezTo>
                    <a:cubicBezTo>
                      <a:pt x="1745" y="31"/>
                      <a:pt x="1712" y="71"/>
                      <a:pt x="1675" y="122"/>
                    </a:cubicBezTo>
                    <a:cubicBezTo>
                      <a:pt x="1661" y="120"/>
                      <a:pt x="1651" y="120"/>
                      <a:pt x="1643" y="120"/>
                    </a:cubicBezTo>
                    <a:cubicBezTo>
                      <a:pt x="1636" y="120"/>
                      <a:pt x="1626" y="120"/>
                      <a:pt x="1611" y="122"/>
                    </a:cubicBezTo>
                    <a:cubicBezTo>
                      <a:pt x="1601" y="107"/>
                      <a:pt x="1583" y="83"/>
                      <a:pt x="1556" y="50"/>
                    </a:cubicBezTo>
                    <a:cubicBezTo>
                      <a:pt x="1529" y="16"/>
                      <a:pt x="1512" y="0"/>
                      <a:pt x="1506" y="0"/>
                    </a:cubicBezTo>
                    <a:cubicBezTo>
                      <a:pt x="1505" y="0"/>
                      <a:pt x="1494" y="5"/>
                      <a:pt x="1474" y="17"/>
                    </a:cubicBezTo>
                    <a:cubicBezTo>
                      <a:pt x="1454" y="28"/>
                      <a:pt x="1433" y="40"/>
                      <a:pt x="1411" y="53"/>
                    </a:cubicBezTo>
                    <a:cubicBezTo>
                      <a:pt x="1389" y="66"/>
                      <a:pt x="1377" y="73"/>
                      <a:pt x="1374" y="75"/>
                    </a:cubicBezTo>
                    <a:cubicBezTo>
                      <a:pt x="1371" y="77"/>
                      <a:pt x="1369" y="79"/>
                      <a:pt x="1369" y="82"/>
                    </a:cubicBezTo>
                    <a:cubicBezTo>
                      <a:pt x="1369" y="100"/>
                      <a:pt x="1388" y="149"/>
                      <a:pt x="1424" y="230"/>
                    </a:cubicBezTo>
                    <a:cubicBezTo>
                      <a:pt x="1412" y="246"/>
                      <a:pt x="1401" y="265"/>
                      <a:pt x="1392" y="285"/>
                    </a:cubicBezTo>
                    <a:cubicBezTo>
                      <a:pt x="1286" y="296"/>
                      <a:pt x="1232" y="307"/>
                      <a:pt x="1232" y="319"/>
                    </a:cubicBezTo>
                    <a:cubicBezTo>
                      <a:pt x="1232" y="468"/>
                      <a:pt x="1232" y="468"/>
                      <a:pt x="1232" y="468"/>
                    </a:cubicBezTo>
                    <a:cubicBezTo>
                      <a:pt x="1232" y="480"/>
                      <a:pt x="1286" y="491"/>
                      <a:pt x="1392" y="502"/>
                    </a:cubicBezTo>
                    <a:cubicBezTo>
                      <a:pt x="1400" y="521"/>
                      <a:pt x="1411" y="539"/>
                      <a:pt x="1424" y="557"/>
                    </a:cubicBezTo>
                    <a:cubicBezTo>
                      <a:pt x="1388" y="638"/>
                      <a:pt x="1369" y="687"/>
                      <a:pt x="1369" y="705"/>
                    </a:cubicBezTo>
                    <a:cubicBezTo>
                      <a:pt x="1369" y="708"/>
                      <a:pt x="1371" y="710"/>
                      <a:pt x="1374" y="712"/>
                    </a:cubicBezTo>
                    <a:cubicBezTo>
                      <a:pt x="1461" y="763"/>
                      <a:pt x="1505" y="788"/>
                      <a:pt x="1506" y="788"/>
                    </a:cubicBezTo>
                    <a:cubicBezTo>
                      <a:pt x="1512" y="788"/>
                      <a:pt x="1529" y="772"/>
                      <a:pt x="1556" y="738"/>
                    </a:cubicBezTo>
                    <a:cubicBezTo>
                      <a:pt x="1583" y="705"/>
                      <a:pt x="1601" y="680"/>
                      <a:pt x="1611" y="665"/>
                    </a:cubicBezTo>
                    <a:cubicBezTo>
                      <a:pt x="1626" y="667"/>
                      <a:pt x="1636" y="668"/>
                      <a:pt x="1643" y="668"/>
                    </a:cubicBezTo>
                    <a:cubicBezTo>
                      <a:pt x="1651" y="668"/>
                      <a:pt x="1661" y="667"/>
                      <a:pt x="1675" y="665"/>
                    </a:cubicBezTo>
                    <a:cubicBezTo>
                      <a:pt x="1685" y="680"/>
                      <a:pt x="1704" y="705"/>
                      <a:pt x="1731" y="738"/>
                    </a:cubicBezTo>
                    <a:cubicBezTo>
                      <a:pt x="1758" y="772"/>
                      <a:pt x="1775" y="788"/>
                      <a:pt x="1780" y="788"/>
                    </a:cubicBezTo>
                    <a:cubicBezTo>
                      <a:pt x="1782" y="788"/>
                      <a:pt x="1826" y="763"/>
                      <a:pt x="1913" y="712"/>
                    </a:cubicBezTo>
                    <a:cubicBezTo>
                      <a:pt x="1916" y="710"/>
                      <a:pt x="1917" y="708"/>
                      <a:pt x="1917" y="705"/>
                    </a:cubicBezTo>
                    <a:cubicBezTo>
                      <a:pt x="1917" y="687"/>
                      <a:pt x="1899" y="638"/>
                      <a:pt x="1863" y="557"/>
                    </a:cubicBezTo>
                    <a:cubicBezTo>
                      <a:pt x="1876" y="539"/>
                      <a:pt x="1886" y="521"/>
                      <a:pt x="1895" y="502"/>
                    </a:cubicBezTo>
                    <a:cubicBezTo>
                      <a:pt x="2001" y="491"/>
                      <a:pt x="2054" y="480"/>
                      <a:pt x="2054" y="468"/>
                    </a:cubicBezTo>
                    <a:cubicBezTo>
                      <a:pt x="2054" y="319"/>
                      <a:pt x="2054" y="319"/>
                      <a:pt x="2054" y="319"/>
                    </a:cubicBezTo>
                    <a:cubicBezTo>
                      <a:pt x="2054" y="307"/>
                      <a:pt x="2001" y="296"/>
                      <a:pt x="1895" y="285"/>
                    </a:cubicBezTo>
                    <a:close/>
                    <a:moveTo>
                      <a:pt x="1740" y="490"/>
                    </a:moveTo>
                    <a:cubicBezTo>
                      <a:pt x="1713" y="517"/>
                      <a:pt x="1681" y="531"/>
                      <a:pt x="1643" y="531"/>
                    </a:cubicBezTo>
                    <a:cubicBezTo>
                      <a:pt x="1606" y="531"/>
                      <a:pt x="1573" y="517"/>
                      <a:pt x="1547" y="490"/>
                    </a:cubicBezTo>
                    <a:cubicBezTo>
                      <a:pt x="1520" y="464"/>
                      <a:pt x="1506" y="431"/>
                      <a:pt x="1506" y="394"/>
                    </a:cubicBezTo>
                    <a:cubicBezTo>
                      <a:pt x="1506" y="356"/>
                      <a:pt x="1520" y="324"/>
                      <a:pt x="1547" y="297"/>
                    </a:cubicBezTo>
                    <a:cubicBezTo>
                      <a:pt x="1574" y="270"/>
                      <a:pt x="1606" y="257"/>
                      <a:pt x="1643" y="257"/>
                    </a:cubicBezTo>
                    <a:cubicBezTo>
                      <a:pt x="1680" y="257"/>
                      <a:pt x="1713" y="270"/>
                      <a:pt x="1740" y="297"/>
                    </a:cubicBezTo>
                    <a:cubicBezTo>
                      <a:pt x="1767" y="324"/>
                      <a:pt x="1780" y="356"/>
                      <a:pt x="1780" y="394"/>
                    </a:cubicBezTo>
                    <a:cubicBezTo>
                      <a:pt x="1780" y="431"/>
                      <a:pt x="1767" y="464"/>
                      <a:pt x="1740" y="49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28"/>
            <p:cNvGrpSpPr/>
            <p:nvPr/>
          </p:nvGrpSpPr>
          <p:grpSpPr>
            <a:xfrm>
              <a:off x="4723058" y="2874640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21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5" name="Group 18"/>
          <p:cNvGrpSpPr/>
          <p:nvPr/>
        </p:nvGrpSpPr>
        <p:grpSpPr>
          <a:xfrm>
            <a:off x="6105001" y="2818618"/>
            <a:ext cx="1868816" cy="3747869"/>
            <a:chOff x="6227418" y="2874640"/>
            <a:chExt cx="1906290" cy="3823022"/>
          </a:xfrm>
        </p:grpSpPr>
        <p:grpSp>
          <p:nvGrpSpPr>
            <p:cNvPr id="26" name="Group 12"/>
            <p:cNvGrpSpPr/>
            <p:nvPr/>
          </p:nvGrpSpPr>
          <p:grpSpPr>
            <a:xfrm>
              <a:off x="6227418" y="3686475"/>
              <a:ext cx="1906290" cy="3011187"/>
              <a:chOff x="6227418" y="3686475"/>
              <a:chExt cx="1906290" cy="3011187"/>
            </a:xfrm>
          </p:grpSpPr>
          <p:sp>
            <p:nvSpPr>
              <p:cNvPr id="30" name="TextBox 29"/>
              <p:cNvSpPr txBox="1"/>
              <p:nvPr/>
            </p:nvSpPr>
            <p:spPr>
              <a:xfrm>
                <a:off x="6227418" y="3686475"/>
                <a:ext cx="1906290" cy="3011187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179285" tIns="143428" rIns="179285" bIns="143428" rtlCol="0">
                <a:normAutofit/>
              </a:bodyPr>
              <a:lstStyle>
                <a:defPPr>
                  <a:defRPr lang="en-US"/>
                </a:defPPr>
                <a:lvl1pPr>
                  <a:spcBef>
                    <a:spcPct val="20000"/>
                  </a:spcBef>
                  <a:defRPr sz="220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defRPr>
                </a:lvl1pPr>
              </a:lstStyle>
              <a:p>
                <a:pPr>
                  <a:lnSpc>
                    <a:spcPct val="90000"/>
                  </a:lnSpc>
                </a:pPr>
                <a:r>
                  <a:rPr lang="en-US" sz="1961" b="1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Geographic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</a:rPr>
                  <a:t>Analyze location-based data to manage operations where they occur</a:t>
                </a:r>
              </a:p>
            </p:txBody>
          </p:sp>
          <p:sp>
            <p:nvSpPr>
              <p:cNvPr id="31" name="Freeform 40"/>
              <p:cNvSpPr>
                <a:spLocks noChangeAspect="1" noEditPoints="1"/>
              </p:cNvSpPr>
              <p:nvPr/>
            </p:nvSpPr>
            <p:spPr bwMode="auto">
              <a:xfrm>
                <a:off x="7259097" y="5785114"/>
                <a:ext cx="726674" cy="777563"/>
              </a:xfrm>
              <a:custGeom>
                <a:avLst/>
                <a:gdLst>
                  <a:gd name="T0" fmla="*/ 1032 w 1792"/>
                  <a:gd name="T1" fmla="*/ 66 h 1918"/>
                  <a:gd name="T2" fmla="*/ 1792 w 1792"/>
                  <a:gd name="T3" fmla="*/ 816 h 1918"/>
                  <a:gd name="T4" fmla="*/ 1041 w 1792"/>
                  <a:gd name="T5" fmla="*/ 1576 h 1918"/>
                  <a:gd name="T6" fmla="*/ 647 w 1792"/>
                  <a:gd name="T7" fmla="*/ 1465 h 1918"/>
                  <a:gd name="T8" fmla="*/ 666 w 1792"/>
                  <a:gd name="T9" fmla="*/ 1446 h 1918"/>
                  <a:gd name="T10" fmla="*/ 657 w 1792"/>
                  <a:gd name="T11" fmla="*/ 1302 h 1918"/>
                  <a:gd name="T12" fmla="*/ 507 w 1792"/>
                  <a:gd name="T13" fmla="*/ 1244 h 1918"/>
                  <a:gd name="T14" fmla="*/ 397 w 1792"/>
                  <a:gd name="T15" fmla="*/ 1215 h 1918"/>
                  <a:gd name="T16" fmla="*/ 286 w 1792"/>
                  <a:gd name="T17" fmla="*/ 826 h 1918"/>
                  <a:gd name="T18" fmla="*/ 584 w 1792"/>
                  <a:gd name="T19" fmla="*/ 220 h 1918"/>
                  <a:gd name="T20" fmla="*/ 652 w 1792"/>
                  <a:gd name="T21" fmla="*/ 234 h 1918"/>
                  <a:gd name="T22" fmla="*/ 628 w 1792"/>
                  <a:gd name="T23" fmla="*/ 350 h 1918"/>
                  <a:gd name="T24" fmla="*/ 652 w 1792"/>
                  <a:gd name="T25" fmla="*/ 532 h 1918"/>
                  <a:gd name="T26" fmla="*/ 734 w 1792"/>
                  <a:gd name="T27" fmla="*/ 643 h 1918"/>
                  <a:gd name="T28" fmla="*/ 844 w 1792"/>
                  <a:gd name="T29" fmla="*/ 710 h 1918"/>
                  <a:gd name="T30" fmla="*/ 926 w 1792"/>
                  <a:gd name="T31" fmla="*/ 763 h 1918"/>
                  <a:gd name="T32" fmla="*/ 916 w 1792"/>
                  <a:gd name="T33" fmla="*/ 864 h 1918"/>
                  <a:gd name="T34" fmla="*/ 964 w 1792"/>
                  <a:gd name="T35" fmla="*/ 980 h 1918"/>
                  <a:gd name="T36" fmla="*/ 1027 w 1792"/>
                  <a:gd name="T37" fmla="*/ 1076 h 1918"/>
                  <a:gd name="T38" fmla="*/ 1022 w 1792"/>
                  <a:gd name="T39" fmla="*/ 1254 h 1918"/>
                  <a:gd name="T40" fmla="*/ 1070 w 1792"/>
                  <a:gd name="T41" fmla="*/ 1374 h 1918"/>
                  <a:gd name="T42" fmla="*/ 1137 w 1792"/>
                  <a:gd name="T43" fmla="*/ 1384 h 1918"/>
                  <a:gd name="T44" fmla="*/ 1109 w 1792"/>
                  <a:gd name="T45" fmla="*/ 1244 h 1918"/>
                  <a:gd name="T46" fmla="*/ 1205 w 1792"/>
                  <a:gd name="T47" fmla="*/ 1134 h 1918"/>
                  <a:gd name="T48" fmla="*/ 1263 w 1792"/>
                  <a:gd name="T49" fmla="*/ 1057 h 1918"/>
                  <a:gd name="T50" fmla="*/ 1287 w 1792"/>
                  <a:gd name="T51" fmla="*/ 980 h 1918"/>
                  <a:gd name="T52" fmla="*/ 1315 w 1792"/>
                  <a:gd name="T53" fmla="*/ 927 h 1918"/>
                  <a:gd name="T54" fmla="*/ 1210 w 1792"/>
                  <a:gd name="T55" fmla="*/ 840 h 1918"/>
                  <a:gd name="T56" fmla="*/ 1113 w 1792"/>
                  <a:gd name="T57" fmla="*/ 768 h 1918"/>
                  <a:gd name="T58" fmla="*/ 1003 w 1792"/>
                  <a:gd name="T59" fmla="*/ 706 h 1918"/>
                  <a:gd name="T60" fmla="*/ 926 w 1792"/>
                  <a:gd name="T61" fmla="*/ 730 h 1918"/>
                  <a:gd name="T62" fmla="*/ 863 w 1792"/>
                  <a:gd name="T63" fmla="*/ 672 h 1918"/>
                  <a:gd name="T64" fmla="*/ 777 w 1792"/>
                  <a:gd name="T65" fmla="*/ 556 h 1918"/>
                  <a:gd name="T66" fmla="*/ 887 w 1792"/>
                  <a:gd name="T67" fmla="*/ 513 h 1918"/>
                  <a:gd name="T68" fmla="*/ 936 w 1792"/>
                  <a:gd name="T69" fmla="*/ 499 h 1918"/>
                  <a:gd name="T70" fmla="*/ 1065 w 1792"/>
                  <a:gd name="T71" fmla="*/ 354 h 1918"/>
                  <a:gd name="T72" fmla="*/ 1123 w 1792"/>
                  <a:gd name="T73" fmla="*/ 302 h 1918"/>
                  <a:gd name="T74" fmla="*/ 1166 w 1792"/>
                  <a:gd name="T75" fmla="*/ 258 h 1918"/>
                  <a:gd name="T76" fmla="*/ 1065 w 1792"/>
                  <a:gd name="T77" fmla="*/ 239 h 1918"/>
                  <a:gd name="T78" fmla="*/ 993 w 1792"/>
                  <a:gd name="T79" fmla="*/ 249 h 1918"/>
                  <a:gd name="T80" fmla="*/ 1027 w 1792"/>
                  <a:gd name="T81" fmla="*/ 167 h 1918"/>
                  <a:gd name="T82" fmla="*/ 936 w 1792"/>
                  <a:gd name="T83" fmla="*/ 124 h 1918"/>
                  <a:gd name="T84" fmla="*/ 734 w 1792"/>
                  <a:gd name="T85" fmla="*/ 138 h 1918"/>
                  <a:gd name="T86" fmla="*/ 724 w 1792"/>
                  <a:gd name="T87" fmla="*/ 138 h 1918"/>
                  <a:gd name="T88" fmla="*/ 1032 w 1792"/>
                  <a:gd name="T89" fmla="*/ 66 h 1918"/>
                  <a:gd name="T90" fmla="*/ 1301 w 1792"/>
                  <a:gd name="T91" fmla="*/ 1769 h 1918"/>
                  <a:gd name="T92" fmla="*/ 1585 w 1792"/>
                  <a:gd name="T93" fmla="*/ 1648 h 1918"/>
                  <a:gd name="T94" fmla="*/ 1532 w 1792"/>
                  <a:gd name="T95" fmla="*/ 1571 h 1918"/>
                  <a:gd name="T96" fmla="*/ 877 w 1792"/>
                  <a:gd name="T97" fmla="*/ 1687 h 1918"/>
                  <a:gd name="T98" fmla="*/ 193 w 1792"/>
                  <a:gd name="T99" fmla="*/ 627 h 1918"/>
                  <a:gd name="T100" fmla="*/ 569 w 1792"/>
                  <a:gd name="T101" fmla="*/ 77 h 1918"/>
                  <a:gd name="T102" fmla="*/ 521 w 1792"/>
                  <a:gd name="T103" fmla="*/ 0 h 1918"/>
                  <a:gd name="T104" fmla="*/ 106 w 1792"/>
                  <a:gd name="T105" fmla="*/ 607 h 1918"/>
                  <a:gd name="T106" fmla="*/ 786 w 1792"/>
                  <a:gd name="T107" fmla="*/ 1755 h 1918"/>
                  <a:gd name="T108" fmla="*/ 535 w 1792"/>
                  <a:gd name="T109" fmla="*/ 1918 h 1918"/>
                  <a:gd name="T110" fmla="*/ 1503 w 1792"/>
                  <a:gd name="T111" fmla="*/ 1918 h 1918"/>
                  <a:gd name="T112" fmla="*/ 1301 w 1792"/>
                  <a:gd name="T113" fmla="*/ 1769 h 19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92" h="1918">
                    <a:moveTo>
                      <a:pt x="1032" y="66"/>
                    </a:moveTo>
                    <a:cubicBezTo>
                      <a:pt x="1450" y="66"/>
                      <a:pt x="1787" y="398"/>
                      <a:pt x="1792" y="816"/>
                    </a:cubicBezTo>
                    <a:cubicBezTo>
                      <a:pt x="1792" y="1230"/>
                      <a:pt x="1460" y="1571"/>
                      <a:pt x="1041" y="1576"/>
                    </a:cubicBezTo>
                    <a:cubicBezTo>
                      <a:pt x="897" y="1576"/>
                      <a:pt x="762" y="1533"/>
                      <a:pt x="647" y="1465"/>
                    </a:cubicBezTo>
                    <a:cubicBezTo>
                      <a:pt x="652" y="1461"/>
                      <a:pt x="661" y="1451"/>
                      <a:pt x="666" y="1446"/>
                    </a:cubicBezTo>
                    <a:cubicBezTo>
                      <a:pt x="724" y="1379"/>
                      <a:pt x="681" y="1369"/>
                      <a:pt x="657" y="1302"/>
                    </a:cubicBezTo>
                    <a:cubicBezTo>
                      <a:pt x="633" y="1239"/>
                      <a:pt x="541" y="1244"/>
                      <a:pt x="507" y="1244"/>
                    </a:cubicBezTo>
                    <a:cubicBezTo>
                      <a:pt x="483" y="1244"/>
                      <a:pt x="426" y="1225"/>
                      <a:pt x="397" y="1215"/>
                    </a:cubicBezTo>
                    <a:cubicBezTo>
                      <a:pt x="330" y="1105"/>
                      <a:pt x="286" y="970"/>
                      <a:pt x="286" y="826"/>
                    </a:cubicBezTo>
                    <a:cubicBezTo>
                      <a:pt x="281" y="581"/>
                      <a:pt x="402" y="359"/>
                      <a:pt x="584" y="220"/>
                    </a:cubicBezTo>
                    <a:cubicBezTo>
                      <a:pt x="618" y="220"/>
                      <a:pt x="642" y="220"/>
                      <a:pt x="652" y="234"/>
                    </a:cubicBezTo>
                    <a:cubicBezTo>
                      <a:pt x="671" y="268"/>
                      <a:pt x="628" y="311"/>
                      <a:pt x="628" y="350"/>
                    </a:cubicBezTo>
                    <a:cubicBezTo>
                      <a:pt x="628" y="393"/>
                      <a:pt x="633" y="508"/>
                      <a:pt x="652" y="532"/>
                    </a:cubicBezTo>
                    <a:cubicBezTo>
                      <a:pt x="676" y="556"/>
                      <a:pt x="685" y="609"/>
                      <a:pt x="734" y="643"/>
                    </a:cubicBezTo>
                    <a:cubicBezTo>
                      <a:pt x="777" y="672"/>
                      <a:pt x="810" y="701"/>
                      <a:pt x="844" y="710"/>
                    </a:cubicBezTo>
                    <a:cubicBezTo>
                      <a:pt x="873" y="725"/>
                      <a:pt x="945" y="749"/>
                      <a:pt x="926" y="763"/>
                    </a:cubicBezTo>
                    <a:cubicBezTo>
                      <a:pt x="907" y="778"/>
                      <a:pt x="892" y="797"/>
                      <a:pt x="916" y="864"/>
                    </a:cubicBezTo>
                    <a:cubicBezTo>
                      <a:pt x="936" y="936"/>
                      <a:pt x="936" y="941"/>
                      <a:pt x="964" y="980"/>
                    </a:cubicBezTo>
                    <a:cubicBezTo>
                      <a:pt x="998" y="1018"/>
                      <a:pt x="1027" y="1033"/>
                      <a:pt x="1027" y="1076"/>
                    </a:cubicBezTo>
                    <a:cubicBezTo>
                      <a:pt x="1027" y="1124"/>
                      <a:pt x="1008" y="1215"/>
                      <a:pt x="1022" y="1254"/>
                    </a:cubicBezTo>
                    <a:cubicBezTo>
                      <a:pt x="1032" y="1292"/>
                      <a:pt x="1046" y="1369"/>
                      <a:pt x="1070" y="1374"/>
                    </a:cubicBezTo>
                    <a:cubicBezTo>
                      <a:pt x="1099" y="1379"/>
                      <a:pt x="1157" y="1427"/>
                      <a:pt x="1137" y="1384"/>
                    </a:cubicBezTo>
                    <a:cubicBezTo>
                      <a:pt x="1118" y="1350"/>
                      <a:pt x="1080" y="1278"/>
                      <a:pt x="1109" y="1244"/>
                    </a:cubicBezTo>
                    <a:cubicBezTo>
                      <a:pt x="1142" y="1211"/>
                      <a:pt x="1186" y="1201"/>
                      <a:pt x="1205" y="1134"/>
                    </a:cubicBezTo>
                    <a:cubicBezTo>
                      <a:pt x="1224" y="1071"/>
                      <a:pt x="1263" y="1057"/>
                      <a:pt x="1263" y="1057"/>
                    </a:cubicBezTo>
                    <a:cubicBezTo>
                      <a:pt x="1263" y="1057"/>
                      <a:pt x="1263" y="1057"/>
                      <a:pt x="1287" y="980"/>
                    </a:cubicBezTo>
                    <a:cubicBezTo>
                      <a:pt x="1287" y="980"/>
                      <a:pt x="1287" y="980"/>
                      <a:pt x="1315" y="927"/>
                    </a:cubicBezTo>
                    <a:cubicBezTo>
                      <a:pt x="1315" y="927"/>
                      <a:pt x="1296" y="864"/>
                      <a:pt x="1210" y="840"/>
                    </a:cubicBezTo>
                    <a:cubicBezTo>
                      <a:pt x="1128" y="811"/>
                      <a:pt x="1205" y="807"/>
                      <a:pt x="1113" y="768"/>
                    </a:cubicBezTo>
                    <a:cubicBezTo>
                      <a:pt x="1022" y="730"/>
                      <a:pt x="1027" y="691"/>
                      <a:pt x="1003" y="706"/>
                    </a:cubicBezTo>
                    <a:cubicBezTo>
                      <a:pt x="979" y="715"/>
                      <a:pt x="926" y="730"/>
                      <a:pt x="926" y="730"/>
                    </a:cubicBezTo>
                    <a:cubicBezTo>
                      <a:pt x="926" y="730"/>
                      <a:pt x="926" y="730"/>
                      <a:pt x="863" y="672"/>
                    </a:cubicBezTo>
                    <a:cubicBezTo>
                      <a:pt x="863" y="672"/>
                      <a:pt x="734" y="614"/>
                      <a:pt x="777" y="556"/>
                    </a:cubicBezTo>
                    <a:cubicBezTo>
                      <a:pt x="820" y="499"/>
                      <a:pt x="859" y="465"/>
                      <a:pt x="887" y="513"/>
                    </a:cubicBezTo>
                    <a:cubicBezTo>
                      <a:pt x="911" y="556"/>
                      <a:pt x="916" y="556"/>
                      <a:pt x="936" y="499"/>
                    </a:cubicBezTo>
                    <a:cubicBezTo>
                      <a:pt x="955" y="441"/>
                      <a:pt x="1032" y="354"/>
                      <a:pt x="1065" y="354"/>
                    </a:cubicBezTo>
                    <a:cubicBezTo>
                      <a:pt x="1099" y="354"/>
                      <a:pt x="1123" y="302"/>
                      <a:pt x="1123" y="302"/>
                    </a:cubicBezTo>
                    <a:cubicBezTo>
                      <a:pt x="1123" y="302"/>
                      <a:pt x="1238" y="302"/>
                      <a:pt x="1166" y="258"/>
                    </a:cubicBezTo>
                    <a:cubicBezTo>
                      <a:pt x="1094" y="215"/>
                      <a:pt x="1104" y="196"/>
                      <a:pt x="1065" y="239"/>
                    </a:cubicBezTo>
                    <a:cubicBezTo>
                      <a:pt x="1027" y="287"/>
                      <a:pt x="1017" y="244"/>
                      <a:pt x="993" y="249"/>
                    </a:cubicBezTo>
                    <a:cubicBezTo>
                      <a:pt x="969" y="249"/>
                      <a:pt x="998" y="167"/>
                      <a:pt x="1027" y="167"/>
                    </a:cubicBezTo>
                    <a:cubicBezTo>
                      <a:pt x="1051" y="167"/>
                      <a:pt x="998" y="100"/>
                      <a:pt x="936" y="124"/>
                    </a:cubicBezTo>
                    <a:cubicBezTo>
                      <a:pt x="868" y="152"/>
                      <a:pt x="734" y="138"/>
                      <a:pt x="734" y="138"/>
                    </a:cubicBezTo>
                    <a:cubicBezTo>
                      <a:pt x="734" y="138"/>
                      <a:pt x="729" y="138"/>
                      <a:pt x="724" y="138"/>
                    </a:cubicBezTo>
                    <a:cubicBezTo>
                      <a:pt x="820" y="95"/>
                      <a:pt x="921" y="71"/>
                      <a:pt x="1032" y="66"/>
                    </a:cubicBezTo>
                    <a:close/>
                    <a:moveTo>
                      <a:pt x="1301" y="1769"/>
                    </a:moveTo>
                    <a:cubicBezTo>
                      <a:pt x="1402" y="1740"/>
                      <a:pt x="1499" y="1702"/>
                      <a:pt x="1585" y="1648"/>
                    </a:cubicBezTo>
                    <a:cubicBezTo>
                      <a:pt x="1532" y="1571"/>
                      <a:pt x="1532" y="1571"/>
                      <a:pt x="1532" y="1571"/>
                    </a:cubicBezTo>
                    <a:cubicBezTo>
                      <a:pt x="1344" y="1687"/>
                      <a:pt x="1113" y="1735"/>
                      <a:pt x="877" y="1687"/>
                    </a:cubicBezTo>
                    <a:cubicBezTo>
                      <a:pt x="395" y="1581"/>
                      <a:pt x="92" y="1109"/>
                      <a:pt x="193" y="627"/>
                    </a:cubicBezTo>
                    <a:cubicBezTo>
                      <a:pt x="246" y="390"/>
                      <a:pt x="386" y="198"/>
                      <a:pt x="569" y="77"/>
                    </a:cubicBezTo>
                    <a:cubicBezTo>
                      <a:pt x="521" y="0"/>
                      <a:pt x="521" y="0"/>
                      <a:pt x="521" y="0"/>
                    </a:cubicBezTo>
                    <a:cubicBezTo>
                      <a:pt x="318" y="135"/>
                      <a:pt x="164" y="347"/>
                      <a:pt x="106" y="607"/>
                    </a:cubicBezTo>
                    <a:cubicBezTo>
                      <a:pt x="0" y="1113"/>
                      <a:pt x="299" y="1610"/>
                      <a:pt x="786" y="1755"/>
                    </a:cubicBezTo>
                    <a:cubicBezTo>
                      <a:pt x="636" y="1788"/>
                      <a:pt x="535" y="1846"/>
                      <a:pt x="535" y="1918"/>
                    </a:cubicBezTo>
                    <a:cubicBezTo>
                      <a:pt x="1503" y="1918"/>
                      <a:pt x="1503" y="1918"/>
                      <a:pt x="1503" y="1918"/>
                    </a:cubicBezTo>
                    <a:cubicBezTo>
                      <a:pt x="1503" y="1856"/>
                      <a:pt x="1421" y="1803"/>
                      <a:pt x="1301" y="17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" name="Group 31"/>
            <p:cNvGrpSpPr/>
            <p:nvPr/>
          </p:nvGrpSpPr>
          <p:grpSpPr>
            <a:xfrm>
              <a:off x="6777573" y="2874640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28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2" name="Group 19"/>
          <p:cNvGrpSpPr/>
          <p:nvPr/>
        </p:nvGrpSpPr>
        <p:grpSpPr>
          <a:xfrm>
            <a:off x="8049120" y="2818617"/>
            <a:ext cx="1868816" cy="3747870"/>
            <a:chOff x="8210521" y="2874639"/>
            <a:chExt cx="1906290" cy="3823023"/>
          </a:xfrm>
        </p:grpSpPr>
        <p:grpSp>
          <p:nvGrpSpPr>
            <p:cNvPr id="33" name="Group 13"/>
            <p:cNvGrpSpPr/>
            <p:nvPr/>
          </p:nvGrpSpPr>
          <p:grpSpPr>
            <a:xfrm>
              <a:off x="8210521" y="3686475"/>
              <a:ext cx="1906290" cy="3011187"/>
              <a:chOff x="8210521" y="3686475"/>
              <a:chExt cx="1906290" cy="3011187"/>
            </a:xfrm>
          </p:grpSpPr>
          <p:sp>
            <p:nvSpPr>
              <p:cNvPr id="37" name="TextBox 36"/>
              <p:cNvSpPr txBox="1"/>
              <p:nvPr/>
            </p:nvSpPr>
            <p:spPr>
              <a:xfrm>
                <a:off x="8210521" y="3686475"/>
                <a:ext cx="1906290" cy="3011187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179285" tIns="143428" rIns="179285" bIns="143428" rtlCol="0">
                <a:normAutofit/>
              </a:bodyPr>
              <a:lstStyle>
                <a:defPPr>
                  <a:defRPr lang="en-US"/>
                </a:defPPr>
                <a:lvl1pPr>
                  <a:spcBef>
                    <a:spcPct val="20000"/>
                  </a:spcBef>
                  <a:defRPr sz="220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defRPr>
                </a:lvl1pPr>
              </a:lstStyle>
              <a:p>
                <a:pPr>
                  <a:lnSpc>
                    <a:spcPct val="90000"/>
                  </a:lnSpc>
                </a:pPr>
                <a:r>
                  <a:rPr lang="en-US" sz="1961" b="1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Server logs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</a:rPr>
                  <a:t>Research logs to diagnose process failures and prevent security breaches</a:t>
                </a:r>
              </a:p>
            </p:txBody>
          </p:sp>
          <p:sp>
            <p:nvSpPr>
              <p:cNvPr id="38" name="Freeform 44"/>
              <p:cNvSpPr>
                <a:spLocks noChangeAspect="1" noEditPoints="1"/>
              </p:cNvSpPr>
              <p:nvPr/>
            </p:nvSpPr>
            <p:spPr bwMode="auto">
              <a:xfrm>
                <a:off x="9259098" y="5845215"/>
                <a:ext cx="680776" cy="717463"/>
              </a:xfrm>
              <a:custGeom>
                <a:avLst/>
                <a:gdLst>
                  <a:gd name="T0" fmla="*/ 291 w 2197"/>
                  <a:gd name="T1" fmla="*/ 350 h 2315"/>
                  <a:gd name="T2" fmla="*/ 1404 w 2197"/>
                  <a:gd name="T3" fmla="*/ 230 h 2315"/>
                  <a:gd name="T4" fmla="*/ 1404 w 2197"/>
                  <a:gd name="T5" fmla="*/ 350 h 2315"/>
                  <a:gd name="T6" fmla="*/ 291 w 2197"/>
                  <a:gd name="T7" fmla="*/ 420 h 2315"/>
                  <a:gd name="T8" fmla="*/ 1404 w 2197"/>
                  <a:gd name="T9" fmla="*/ 541 h 2315"/>
                  <a:gd name="T10" fmla="*/ 1404 w 2197"/>
                  <a:gd name="T11" fmla="*/ 420 h 2315"/>
                  <a:gd name="T12" fmla="*/ 1715 w 2197"/>
                  <a:gd name="T13" fmla="*/ 290 h 2315"/>
                  <a:gd name="T14" fmla="*/ 1595 w 2197"/>
                  <a:gd name="T15" fmla="*/ 290 h 2315"/>
                  <a:gd name="T16" fmla="*/ 1846 w 2197"/>
                  <a:gd name="T17" fmla="*/ 360 h 2315"/>
                  <a:gd name="T18" fmla="*/ 1846 w 2197"/>
                  <a:gd name="T19" fmla="*/ 230 h 2315"/>
                  <a:gd name="T20" fmla="*/ 1846 w 2197"/>
                  <a:gd name="T21" fmla="*/ 360 h 2315"/>
                  <a:gd name="T22" fmla="*/ 2197 w 2197"/>
                  <a:gd name="T23" fmla="*/ 1714 h 2315"/>
                  <a:gd name="T24" fmla="*/ 2016 w 2197"/>
                  <a:gd name="T25" fmla="*/ 2315 h 2315"/>
                  <a:gd name="T26" fmla="*/ 10 w 2197"/>
                  <a:gd name="T27" fmla="*/ 2135 h 2315"/>
                  <a:gd name="T28" fmla="*/ 160 w 2197"/>
                  <a:gd name="T29" fmla="*/ 1543 h 2315"/>
                  <a:gd name="T30" fmla="*/ 10 w 2197"/>
                  <a:gd name="T31" fmla="*/ 952 h 2315"/>
                  <a:gd name="T32" fmla="*/ 0 w 2197"/>
                  <a:gd name="T33" fmla="*/ 591 h 2315"/>
                  <a:gd name="T34" fmla="*/ 180 w 2197"/>
                  <a:gd name="T35" fmla="*/ 0 h 2315"/>
                  <a:gd name="T36" fmla="*/ 2187 w 2197"/>
                  <a:gd name="T37" fmla="*/ 180 h 2315"/>
                  <a:gd name="T38" fmla="*/ 2046 w 2197"/>
                  <a:gd name="T39" fmla="*/ 771 h 2315"/>
                  <a:gd name="T40" fmla="*/ 2197 w 2197"/>
                  <a:gd name="T41" fmla="*/ 1363 h 2315"/>
                  <a:gd name="T42" fmla="*/ 180 w 2197"/>
                  <a:gd name="T43" fmla="*/ 681 h 2315"/>
                  <a:gd name="T44" fmla="*/ 2096 w 2197"/>
                  <a:gd name="T45" fmla="*/ 591 h 2315"/>
                  <a:gd name="T46" fmla="*/ 2006 w 2197"/>
                  <a:gd name="T47" fmla="*/ 90 h 2315"/>
                  <a:gd name="T48" fmla="*/ 100 w 2197"/>
                  <a:gd name="T49" fmla="*/ 180 h 2315"/>
                  <a:gd name="T50" fmla="*/ 180 w 2197"/>
                  <a:gd name="T51" fmla="*/ 681 h 2315"/>
                  <a:gd name="T52" fmla="*/ 190 w 2197"/>
                  <a:gd name="T53" fmla="*/ 1633 h 2315"/>
                  <a:gd name="T54" fmla="*/ 100 w 2197"/>
                  <a:gd name="T55" fmla="*/ 2135 h 2315"/>
                  <a:gd name="T56" fmla="*/ 2016 w 2197"/>
                  <a:gd name="T57" fmla="*/ 2215 h 2315"/>
                  <a:gd name="T58" fmla="*/ 2106 w 2197"/>
                  <a:gd name="T59" fmla="*/ 1714 h 2315"/>
                  <a:gd name="T60" fmla="*/ 2106 w 2197"/>
                  <a:gd name="T61" fmla="*/ 952 h 2315"/>
                  <a:gd name="T62" fmla="*/ 190 w 2197"/>
                  <a:gd name="T63" fmla="*/ 862 h 2315"/>
                  <a:gd name="T64" fmla="*/ 100 w 2197"/>
                  <a:gd name="T65" fmla="*/ 1363 h 2315"/>
                  <a:gd name="T66" fmla="*/ 2016 w 2197"/>
                  <a:gd name="T67" fmla="*/ 1453 h 2315"/>
                  <a:gd name="T68" fmla="*/ 2106 w 2197"/>
                  <a:gd name="T69" fmla="*/ 952 h 2315"/>
                  <a:gd name="T70" fmla="*/ 291 w 2197"/>
                  <a:gd name="T71" fmla="*/ 1122 h 2315"/>
                  <a:gd name="T72" fmla="*/ 1404 w 2197"/>
                  <a:gd name="T73" fmla="*/ 1002 h 2315"/>
                  <a:gd name="T74" fmla="*/ 291 w 2197"/>
                  <a:gd name="T75" fmla="*/ 1122 h 2315"/>
                  <a:gd name="T76" fmla="*/ 291 w 2197"/>
                  <a:gd name="T77" fmla="*/ 1313 h 2315"/>
                  <a:gd name="T78" fmla="*/ 1404 w 2197"/>
                  <a:gd name="T79" fmla="*/ 1192 h 2315"/>
                  <a:gd name="T80" fmla="*/ 291 w 2197"/>
                  <a:gd name="T81" fmla="*/ 1313 h 2315"/>
                  <a:gd name="T82" fmla="*/ 1655 w 2197"/>
                  <a:gd name="T83" fmla="*/ 1002 h 2315"/>
                  <a:gd name="T84" fmla="*/ 1655 w 2197"/>
                  <a:gd name="T85" fmla="*/ 1122 h 2315"/>
                  <a:gd name="T86" fmla="*/ 1655 w 2197"/>
                  <a:gd name="T87" fmla="*/ 1002 h 2315"/>
                  <a:gd name="T88" fmla="*/ 1785 w 2197"/>
                  <a:gd name="T89" fmla="*/ 1062 h 2315"/>
                  <a:gd name="T90" fmla="*/ 1906 w 2197"/>
                  <a:gd name="T91" fmla="*/ 1062 h 2315"/>
                  <a:gd name="T92" fmla="*/ 291 w 2197"/>
                  <a:gd name="T93" fmla="*/ 1894 h 2315"/>
                  <a:gd name="T94" fmla="*/ 1404 w 2197"/>
                  <a:gd name="T95" fmla="*/ 1774 h 2315"/>
                  <a:gd name="T96" fmla="*/ 291 w 2197"/>
                  <a:gd name="T97" fmla="*/ 1894 h 2315"/>
                  <a:gd name="T98" fmla="*/ 291 w 2197"/>
                  <a:gd name="T99" fmla="*/ 2084 h 2315"/>
                  <a:gd name="T100" fmla="*/ 1404 w 2197"/>
                  <a:gd name="T101" fmla="*/ 1964 h 2315"/>
                  <a:gd name="T102" fmla="*/ 291 w 2197"/>
                  <a:gd name="T103" fmla="*/ 2084 h 2315"/>
                  <a:gd name="T104" fmla="*/ 1655 w 2197"/>
                  <a:gd name="T105" fmla="*/ 1764 h 2315"/>
                  <a:gd name="T106" fmla="*/ 1655 w 2197"/>
                  <a:gd name="T107" fmla="*/ 1894 h 2315"/>
                  <a:gd name="T108" fmla="*/ 1655 w 2197"/>
                  <a:gd name="T109" fmla="*/ 1764 h 2315"/>
                  <a:gd name="T110" fmla="*/ 1785 w 2197"/>
                  <a:gd name="T111" fmla="*/ 1834 h 2315"/>
                  <a:gd name="T112" fmla="*/ 1906 w 2197"/>
                  <a:gd name="T113" fmla="*/ 1834 h 2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197" h="2315">
                    <a:moveTo>
                      <a:pt x="1404" y="350"/>
                    </a:moveTo>
                    <a:cubicBezTo>
                      <a:pt x="291" y="350"/>
                      <a:pt x="291" y="350"/>
                      <a:pt x="291" y="350"/>
                    </a:cubicBezTo>
                    <a:cubicBezTo>
                      <a:pt x="291" y="230"/>
                      <a:pt x="291" y="230"/>
                      <a:pt x="291" y="230"/>
                    </a:cubicBezTo>
                    <a:cubicBezTo>
                      <a:pt x="1404" y="230"/>
                      <a:pt x="1404" y="230"/>
                      <a:pt x="1404" y="230"/>
                    </a:cubicBezTo>
                    <a:cubicBezTo>
                      <a:pt x="1404" y="350"/>
                      <a:pt x="1404" y="350"/>
                      <a:pt x="1404" y="350"/>
                    </a:cubicBezTo>
                    <a:cubicBezTo>
                      <a:pt x="1404" y="350"/>
                      <a:pt x="1404" y="350"/>
                      <a:pt x="1404" y="350"/>
                    </a:cubicBezTo>
                    <a:close/>
                    <a:moveTo>
                      <a:pt x="1404" y="420"/>
                    </a:moveTo>
                    <a:cubicBezTo>
                      <a:pt x="291" y="420"/>
                      <a:pt x="291" y="420"/>
                      <a:pt x="291" y="420"/>
                    </a:cubicBezTo>
                    <a:cubicBezTo>
                      <a:pt x="291" y="541"/>
                      <a:pt x="291" y="541"/>
                      <a:pt x="291" y="541"/>
                    </a:cubicBezTo>
                    <a:cubicBezTo>
                      <a:pt x="1404" y="541"/>
                      <a:pt x="1404" y="541"/>
                      <a:pt x="1404" y="541"/>
                    </a:cubicBezTo>
                    <a:cubicBezTo>
                      <a:pt x="1404" y="420"/>
                      <a:pt x="1404" y="420"/>
                      <a:pt x="1404" y="420"/>
                    </a:cubicBezTo>
                    <a:cubicBezTo>
                      <a:pt x="1404" y="420"/>
                      <a:pt x="1404" y="420"/>
                      <a:pt x="1404" y="420"/>
                    </a:cubicBezTo>
                    <a:close/>
                    <a:moveTo>
                      <a:pt x="1655" y="360"/>
                    </a:moveTo>
                    <a:cubicBezTo>
                      <a:pt x="1685" y="360"/>
                      <a:pt x="1715" y="330"/>
                      <a:pt x="1715" y="290"/>
                    </a:cubicBezTo>
                    <a:cubicBezTo>
                      <a:pt x="1715" y="260"/>
                      <a:pt x="1685" y="230"/>
                      <a:pt x="1655" y="230"/>
                    </a:cubicBezTo>
                    <a:cubicBezTo>
                      <a:pt x="1615" y="230"/>
                      <a:pt x="1595" y="260"/>
                      <a:pt x="1595" y="290"/>
                    </a:cubicBezTo>
                    <a:cubicBezTo>
                      <a:pt x="1595" y="330"/>
                      <a:pt x="1615" y="360"/>
                      <a:pt x="1655" y="360"/>
                    </a:cubicBezTo>
                    <a:close/>
                    <a:moveTo>
                      <a:pt x="1846" y="360"/>
                    </a:moveTo>
                    <a:cubicBezTo>
                      <a:pt x="1876" y="360"/>
                      <a:pt x="1906" y="330"/>
                      <a:pt x="1906" y="290"/>
                    </a:cubicBezTo>
                    <a:cubicBezTo>
                      <a:pt x="1906" y="260"/>
                      <a:pt x="1876" y="230"/>
                      <a:pt x="1846" y="230"/>
                    </a:cubicBezTo>
                    <a:cubicBezTo>
                      <a:pt x="1805" y="230"/>
                      <a:pt x="1775" y="260"/>
                      <a:pt x="1775" y="290"/>
                    </a:cubicBezTo>
                    <a:cubicBezTo>
                      <a:pt x="1775" y="330"/>
                      <a:pt x="1805" y="360"/>
                      <a:pt x="1846" y="360"/>
                    </a:cubicBezTo>
                    <a:close/>
                    <a:moveTo>
                      <a:pt x="2046" y="1543"/>
                    </a:moveTo>
                    <a:cubicBezTo>
                      <a:pt x="2126" y="1553"/>
                      <a:pt x="2197" y="1623"/>
                      <a:pt x="2197" y="1714"/>
                    </a:cubicBezTo>
                    <a:cubicBezTo>
                      <a:pt x="2197" y="2135"/>
                      <a:pt x="2197" y="2135"/>
                      <a:pt x="2197" y="2135"/>
                    </a:cubicBezTo>
                    <a:cubicBezTo>
                      <a:pt x="2197" y="2235"/>
                      <a:pt x="2116" y="2315"/>
                      <a:pt x="2016" y="2315"/>
                    </a:cubicBezTo>
                    <a:cubicBezTo>
                      <a:pt x="190" y="2315"/>
                      <a:pt x="190" y="2315"/>
                      <a:pt x="190" y="2315"/>
                    </a:cubicBezTo>
                    <a:cubicBezTo>
                      <a:pt x="90" y="2315"/>
                      <a:pt x="10" y="2235"/>
                      <a:pt x="10" y="2135"/>
                    </a:cubicBezTo>
                    <a:cubicBezTo>
                      <a:pt x="10" y="1714"/>
                      <a:pt x="10" y="1714"/>
                      <a:pt x="10" y="1714"/>
                    </a:cubicBezTo>
                    <a:cubicBezTo>
                      <a:pt x="10" y="1623"/>
                      <a:pt x="70" y="1553"/>
                      <a:pt x="160" y="1543"/>
                    </a:cubicBezTo>
                    <a:cubicBezTo>
                      <a:pt x="70" y="1523"/>
                      <a:pt x="10" y="1453"/>
                      <a:pt x="10" y="1363"/>
                    </a:cubicBezTo>
                    <a:cubicBezTo>
                      <a:pt x="10" y="952"/>
                      <a:pt x="10" y="952"/>
                      <a:pt x="10" y="952"/>
                    </a:cubicBezTo>
                    <a:cubicBezTo>
                      <a:pt x="10" y="862"/>
                      <a:pt x="70" y="791"/>
                      <a:pt x="160" y="771"/>
                    </a:cubicBezTo>
                    <a:cubicBezTo>
                      <a:pt x="70" y="761"/>
                      <a:pt x="0" y="681"/>
                      <a:pt x="0" y="591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0" y="80"/>
                      <a:pt x="80" y="0"/>
                      <a:pt x="180" y="0"/>
                    </a:cubicBezTo>
                    <a:cubicBezTo>
                      <a:pt x="2006" y="0"/>
                      <a:pt x="2006" y="0"/>
                      <a:pt x="2006" y="0"/>
                    </a:cubicBezTo>
                    <a:cubicBezTo>
                      <a:pt x="2106" y="0"/>
                      <a:pt x="2187" y="80"/>
                      <a:pt x="2187" y="180"/>
                    </a:cubicBezTo>
                    <a:cubicBezTo>
                      <a:pt x="2187" y="591"/>
                      <a:pt x="2187" y="591"/>
                      <a:pt x="2187" y="591"/>
                    </a:cubicBezTo>
                    <a:cubicBezTo>
                      <a:pt x="2187" y="681"/>
                      <a:pt x="2126" y="761"/>
                      <a:pt x="2046" y="771"/>
                    </a:cubicBezTo>
                    <a:cubicBezTo>
                      <a:pt x="2126" y="781"/>
                      <a:pt x="2197" y="862"/>
                      <a:pt x="2197" y="952"/>
                    </a:cubicBezTo>
                    <a:cubicBezTo>
                      <a:pt x="2197" y="1363"/>
                      <a:pt x="2197" y="1363"/>
                      <a:pt x="2197" y="1363"/>
                    </a:cubicBezTo>
                    <a:cubicBezTo>
                      <a:pt x="2197" y="1453"/>
                      <a:pt x="2126" y="1523"/>
                      <a:pt x="2046" y="1543"/>
                    </a:cubicBezTo>
                    <a:close/>
                    <a:moveTo>
                      <a:pt x="180" y="681"/>
                    </a:moveTo>
                    <a:cubicBezTo>
                      <a:pt x="2006" y="681"/>
                      <a:pt x="2006" y="681"/>
                      <a:pt x="2006" y="681"/>
                    </a:cubicBezTo>
                    <a:cubicBezTo>
                      <a:pt x="2056" y="681"/>
                      <a:pt x="2096" y="641"/>
                      <a:pt x="2096" y="591"/>
                    </a:cubicBezTo>
                    <a:cubicBezTo>
                      <a:pt x="2096" y="180"/>
                      <a:pt x="2096" y="180"/>
                      <a:pt x="2096" y="180"/>
                    </a:cubicBezTo>
                    <a:cubicBezTo>
                      <a:pt x="2096" y="130"/>
                      <a:pt x="2056" y="90"/>
                      <a:pt x="2006" y="90"/>
                    </a:cubicBezTo>
                    <a:cubicBezTo>
                      <a:pt x="180" y="90"/>
                      <a:pt x="180" y="90"/>
                      <a:pt x="180" y="90"/>
                    </a:cubicBezTo>
                    <a:cubicBezTo>
                      <a:pt x="140" y="90"/>
                      <a:pt x="100" y="130"/>
                      <a:pt x="100" y="180"/>
                    </a:cubicBezTo>
                    <a:cubicBezTo>
                      <a:pt x="100" y="591"/>
                      <a:pt x="100" y="591"/>
                      <a:pt x="100" y="591"/>
                    </a:cubicBezTo>
                    <a:cubicBezTo>
                      <a:pt x="100" y="641"/>
                      <a:pt x="140" y="681"/>
                      <a:pt x="180" y="681"/>
                    </a:cubicBezTo>
                    <a:close/>
                    <a:moveTo>
                      <a:pt x="2016" y="1633"/>
                    </a:moveTo>
                    <a:cubicBezTo>
                      <a:pt x="190" y="1633"/>
                      <a:pt x="190" y="1633"/>
                      <a:pt x="190" y="1633"/>
                    </a:cubicBezTo>
                    <a:cubicBezTo>
                      <a:pt x="140" y="1633"/>
                      <a:pt x="100" y="1674"/>
                      <a:pt x="100" y="1714"/>
                    </a:cubicBezTo>
                    <a:cubicBezTo>
                      <a:pt x="100" y="2135"/>
                      <a:pt x="100" y="2135"/>
                      <a:pt x="100" y="2135"/>
                    </a:cubicBezTo>
                    <a:cubicBezTo>
                      <a:pt x="100" y="2175"/>
                      <a:pt x="140" y="2215"/>
                      <a:pt x="190" y="2215"/>
                    </a:cubicBezTo>
                    <a:cubicBezTo>
                      <a:pt x="2016" y="2215"/>
                      <a:pt x="2016" y="2215"/>
                      <a:pt x="2016" y="2215"/>
                    </a:cubicBezTo>
                    <a:cubicBezTo>
                      <a:pt x="2066" y="2215"/>
                      <a:pt x="2106" y="2175"/>
                      <a:pt x="2106" y="2135"/>
                    </a:cubicBezTo>
                    <a:cubicBezTo>
                      <a:pt x="2106" y="1714"/>
                      <a:pt x="2106" y="1714"/>
                      <a:pt x="2106" y="1714"/>
                    </a:cubicBezTo>
                    <a:cubicBezTo>
                      <a:pt x="2106" y="1674"/>
                      <a:pt x="2066" y="1633"/>
                      <a:pt x="2016" y="1633"/>
                    </a:cubicBezTo>
                    <a:close/>
                    <a:moveTo>
                      <a:pt x="2106" y="952"/>
                    </a:moveTo>
                    <a:cubicBezTo>
                      <a:pt x="2106" y="902"/>
                      <a:pt x="2066" y="862"/>
                      <a:pt x="2016" y="862"/>
                    </a:cubicBezTo>
                    <a:cubicBezTo>
                      <a:pt x="190" y="862"/>
                      <a:pt x="190" y="862"/>
                      <a:pt x="190" y="862"/>
                    </a:cubicBezTo>
                    <a:cubicBezTo>
                      <a:pt x="140" y="862"/>
                      <a:pt x="100" y="902"/>
                      <a:pt x="100" y="952"/>
                    </a:cubicBezTo>
                    <a:cubicBezTo>
                      <a:pt x="100" y="1363"/>
                      <a:pt x="100" y="1363"/>
                      <a:pt x="100" y="1363"/>
                    </a:cubicBezTo>
                    <a:cubicBezTo>
                      <a:pt x="100" y="1413"/>
                      <a:pt x="140" y="1453"/>
                      <a:pt x="190" y="1453"/>
                    </a:cubicBezTo>
                    <a:cubicBezTo>
                      <a:pt x="2016" y="1453"/>
                      <a:pt x="2016" y="1453"/>
                      <a:pt x="2016" y="1453"/>
                    </a:cubicBezTo>
                    <a:cubicBezTo>
                      <a:pt x="2066" y="1453"/>
                      <a:pt x="2106" y="1413"/>
                      <a:pt x="2106" y="1363"/>
                    </a:cubicBezTo>
                    <a:cubicBezTo>
                      <a:pt x="2106" y="952"/>
                      <a:pt x="2106" y="952"/>
                      <a:pt x="2106" y="952"/>
                    </a:cubicBezTo>
                    <a:cubicBezTo>
                      <a:pt x="2106" y="952"/>
                      <a:pt x="2106" y="952"/>
                      <a:pt x="2106" y="952"/>
                    </a:cubicBezTo>
                    <a:close/>
                    <a:moveTo>
                      <a:pt x="291" y="1122"/>
                    </a:moveTo>
                    <a:cubicBezTo>
                      <a:pt x="1404" y="1122"/>
                      <a:pt x="1404" y="1122"/>
                      <a:pt x="1404" y="1122"/>
                    </a:cubicBezTo>
                    <a:cubicBezTo>
                      <a:pt x="1404" y="1002"/>
                      <a:pt x="1404" y="1002"/>
                      <a:pt x="1404" y="1002"/>
                    </a:cubicBezTo>
                    <a:cubicBezTo>
                      <a:pt x="291" y="1002"/>
                      <a:pt x="291" y="1002"/>
                      <a:pt x="291" y="1002"/>
                    </a:cubicBezTo>
                    <a:cubicBezTo>
                      <a:pt x="291" y="1122"/>
                      <a:pt x="291" y="1122"/>
                      <a:pt x="291" y="1122"/>
                    </a:cubicBezTo>
                    <a:cubicBezTo>
                      <a:pt x="291" y="1122"/>
                      <a:pt x="291" y="1122"/>
                      <a:pt x="291" y="1122"/>
                    </a:cubicBezTo>
                    <a:close/>
                    <a:moveTo>
                      <a:pt x="291" y="1313"/>
                    </a:moveTo>
                    <a:cubicBezTo>
                      <a:pt x="1404" y="1313"/>
                      <a:pt x="1404" y="1313"/>
                      <a:pt x="1404" y="1313"/>
                    </a:cubicBezTo>
                    <a:cubicBezTo>
                      <a:pt x="1404" y="1192"/>
                      <a:pt x="1404" y="1192"/>
                      <a:pt x="1404" y="1192"/>
                    </a:cubicBezTo>
                    <a:cubicBezTo>
                      <a:pt x="291" y="1192"/>
                      <a:pt x="291" y="1192"/>
                      <a:pt x="291" y="1192"/>
                    </a:cubicBezTo>
                    <a:cubicBezTo>
                      <a:pt x="291" y="1313"/>
                      <a:pt x="291" y="1313"/>
                      <a:pt x="291" y="1313"/>
                    </a:cubicBezTo>
                    <a:cubicBezTo>
                      <a:pt x="291" y="1313"/>
                      <a:pt x="291" y="1313"/>
                      <a:pt x="291" y="1313"/>
                    </a:cubicBezTo>
                    <a:close/>
                    <a:moveTo>
                      <a:pt x="1655" y="1002"/>
                    </a:moveTo>
                    <a:cubicBezTo>
                      <a:pt x="1625" y="1002"/>
                      <a:pt x="1595" y="1032"/>
                      <a:pt x="1595" y="1062"/>
                    </a:cubicBezTo>
                    <a:cubicBezTo>
                      <a:pt x="1595" y="1092"/>
                      <a:pt x="1625" y="1122"/>
                      <a:pt x="1655" y="1122"/>
                    </a:cubicBezTo>
                    <a:cubicBezTo>
                      <a:pt x="1695" y="1122"/>
                      <a:pt x="1715" y="1092"/>
                      <a:pt x="1715" y="1062"/>
                    </a:cubicBezTo>
                    <a:cubicBezTo>
                      <a:pt x="1715" y="1032"/>
                      <a:pt x="1695" y="1002"/>
                      <a:pt x="1655" y="1002"/>
                    </a:cubicBezTo>
                    <a:close/>
                    <a:moveTo>
                      <a:pt x="1846" y="1002"/>
                    </a:moveTo>
                    <a:cubicBezTo>
                      <a:pt x="1815" y="1002"/>
                      <a:pt x="1785" y="1032"/>
                      <a:pt x="1785" y="1062"/>
                    </a:cubicBezTo>
                    <a:cubicBezTo>
                      <a:pt x="1785" y="1092"/>
                      <a:pt x="1815" y="1122"/>
                      <a:pt x="1846" y="1122"/>
                    </a:cubicBezTo>
                    <a:cubicBezTo>
                      <a:pt x="1886" y="1122"/>
                      <a:pt x="1906" y="1092"/>
                      <a:pt x="1906" y="1062"/>
                    </a:cubicBezTo>
                    <a:cubicBezTo>
                      <a:pt x="1906" y="1032"/>
                      <a:pt x="1886" y="1002"/>
                      <a:pt x="1846" y="1002"/>
                    </a:cubicBezTo>
                    <a:close/>
                    <a:moveTo>
                      <a:pt x="291" y="1894"/>
                    </a:moveTo>
                    <a:cubicBezTo>
                      <a:pt x="1404" y="1894"/>
                      <a:pt x="1404" y="1894"/>
                      <a:pt x="1404" y="1894"/>
                    </a:cubicBezTo>
                    <a:cubicBezTo>
                      <a:pt x="1404" y="1774"/>
                      <a:pt x="1404" y="1774"/>
                      <a:pt x="1404" y="1774"/>
                    </a:cubicBezTo>
                    <a:cubicBezTo>
                      <a:pt x="291" y="1774"/>
                      <a:pt x="291" y="1774"/>
                      <a:pt x="291" y="1774"/>
                    </a:cubicBezTo>
                    <a:cubicBezTo>
                      <a:pt x="291" y="1894"/>
                      <a:pt x="291" y="1894"/>
                      <a:pt x="291" y="1894"/>
                    </a:cubicBezTo>
                    <a:cubicBezTo>
                      <a:pt x="291" y="1894"/>
                      <a:pt x="291" y="1894"/>
                      <a:pt x="291" y="1894"/>
                    </a:cubicBezTo>
                    <a:close/>
                    <a:moveTo>
                      <a:pt x="291" y="2084"/>
                    </a:moveTo>
                    <a:cubicBezTo>
                      <a:pt x="1404" y="2084"/>
                      <a:pt x="1404" y="2084"/>
                      <a:pt x="1404" y="2084"/>
                    </a:cubicBezTo>
                    <a:cubicBezTo>
                      <a:pt x="1404" y="1964"/>
                      <a:pt x="1404" y="1964"/>
                      <a:pt x="1404" y="1964"/>
                    </a:cubicBezTo>
                    <a:cubicBezTo>
                      <a:pt x="291" y="1964"/>
                      <a:pt x="291" y="1964"/>
                      <a:pt x="291" y="1964"/>
                    </a:cubicBezTo>
                    <a:cubicBezTo>
                      <a:pt x="291" y="2084"/>
                      <a:pt x="291" y="2084"/>
                      <a:pt x="291" y="2084"/>
                    </a:cubicBezTo>
                    <a:cubicBezTo>
                      <a:pt x="291" y="2084"/>
                      <a:pt x="291" y="2084"/>
                      <a:pt x="291" y="2084"/>
                    </a:cubicBezTo>
                    <a:close/>
                    <a:moveTo>
                      <a:pt x="1655" y="1764"/>
                    </a:moveTo>
                    <a:cubicBezTo>
                      <a:pt x="1625" y="1764"/>
                      <a:pt x="1595" y="1794"/>
                      <a:pt x="1595" y="1834"/>
                    </a:cubicBezTo>
                    <a:cubicBezTo>
                      <a:pt x="1595" y="1864"/>
                      <a:pt x="1625" y="1894"/>
                      <a:pt x="1655" y="1894"/>
                    </a:cubicBezTo>
                    <a:cubicBezTo>
                      <a:pt x="1695" y="1894"/>
                      <a:pt x="1715" y="1864"/>
                      <a:pt x="1715" y="1834"/>
                    </a:cubicBezTo>
                    <a:cubicBezTo>
                      <a:pt x="1715" y="1794"/>
                      <a:pt x="1695" y="1764"/>
                      <a:pt x="1655" y="1764"/>
                    </a:cubicBezTo>
                    <a:close/>
                    <a:moveTo>
                      <a:pt x="1846" y="1764"/>
                    </a:moveTo>
                    <a:cubicBezTo>
                      <a:pt x="1815" y="1764"/>
                      <a:pt x="1785" y="1794"/>
                      <a:pt x="1785" y="1834"/>
                    </a:cubicBezTo>
                    <a:cubicBezTo>
                      <a:pt x="1785" y="1864"/>
                      <a:pt x="1815" y="1894"/>
                      <a:pt x="1846" y="1894"/>
                    </a:cubicBezTo>
                    <a:cubicBezTo>
                      <a:pt x="1886" y="1894"/>
                      <a:pt x="1906" y="1864"/>
                      <a:pt x="1906" y="1834"/>
                    </a:cubicBezTo>
                    <a:cubicBezTo>
                      <a:pt x="1906" y="1794"/>
                      <a:pt x="1886" y="1764"/>
                      <a:pt x="1846" y="176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4" name="Group 36"/>
            <p:cNvGrpSpPr/>
            <p:nvPr/>
          </p:nvGrpSpPr>
          <p:grpSpPr>
            <a:xfrm>
              <a:off x="8785896" y="2874639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35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9" name="Group 20"/>
          <p:cNvGrpSpPr/>
          <p:nvPr/>
        </p:nvGrpSpPr>
        <p:grpSpPr>
          <a:xfrm>
            <a:off x="9993241" y="2818617"/>
            <a:ext cx="1868816" cy="3747870"/>
            <a:chOff x="10193626" y="2874639"/>
            <a:chExt cx="1906290" cy="3823023"/>
          </a:xfrm>
        </p:grpSpPr>
        <p:grpSp>
          <p:nvGrpSpPr>
            <p:cNvPr id="40" name="Group 14"/>
            <p:cNvGrpSpPr/>
            <p:nvPr/>
          </p:nvGrpSpPr>
          <p:grpSpPr>
            <a:xfrm>
              <a:off x="10193626" y="3686475"/>
              <a:ext cx="1906290" cy="3011187"/>
              <a:chOff x="10193626" y="3686475"/>
              <a:chExt cx="1906290" cy="3011187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10193626" y="3686475"/>
                <a:ext cx="1906290" cy="3011187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179285" tIns="143428" rIns="179285" bIns="143428" rtlCol="0">
                <a:normAutofit/>
              </a:bodyPr>
              <a:lstStyle>
                <a:defPPr>
                  <a:defRPr lang="en-US"/>
                </a:defPPr>
                <a:lvl1pPr>
                  <a:spcBef>
                    <a:spcPct val="20000"/>
                  </a:spcBef>
                  <a:defRPr sz="2200">
                    <a:gradFill>
                      <a:gsLst>
                        <a:gs pos="2917">
                          <a:schemeClr val="bg1"/>
                        </a:gs>
                        <a:gs pos="100000">
                          <a:schemeClr val="bg1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cs typeface="Segoe UI Semibold" panose="020B0702040204020203" pitchFamily="34" charset="0"/>
                  </a:defRPr>
                </a:lvl1pPr>
              </a:lstStyle>
              <a:p>
                <a:pPr>
                  <a:lnSpc>
                    <a:spcPct val="90000"/>
                  </a:lnSpc>
                </a:pPr>
                <a:r>
                  <a:rPr lang="en-US" sz="1765" b="1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Unstructured</a:t>
                </a:r>
                <a:endParaRPr lang="en-US" sz="1961" b="1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  <a:p>
                <a:pPr>
                  <a:lnSpc>
                    <a:spcPct val="90000"/>
                  </a:lnSpc>
                </a:pPr>
                <a:r>
                  <a:rPr lang="en-US" sz="1667" dirty="0"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</a:rPr>
                  <a:t>Understand patterns in files across millions of web pages, emails, and documents</a:t>
                </a:r>
              </a:p>
              <a:p>
                <a:pPr>
                  <a:lnSpc>
                    <a:spcPct val="90000"/>
                  </a:lnSpc>
                </a:pPr>
                <a:endParaRPr lang="en-US" sz="1667" dirty="0"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45" name="Freeform 48"/>
              <p:cNvSpPr>
                <a:spLocks/>
              </p:cNvSpPr>
              <p:nvPr/>
            </p:nvSpPr>
            <p:spPr bwMode="auto">
              <a:xfrm>
                <a:off x="11219541" y="5847552"/>
                <a:ext cx="715126" cy="715126"/>
              </a:xfrm>
              <a:custGeom>
                <a:avLst/>
                <a:gdLst>
                  <a:gd name="T0" fmla="*/ 3683 w 5040"/>
                  <a:gd name="T1" fmla="*/ 1833 h 5040"/>
                  <a:gd name="T2" fmla="*/ 3683 w 5040"/>
                  <a:gd name="T3" fmla="*/ 1833 h 5040"/>
                  <a:gd name="T4" fmla="*/ 5040 w 5040"/>
                  <a:gd name="T5" fmla="*/ 1833 h 5040"/>
                  <a:gd name="T6" fmla="*/ 5040 w 5040"/>
                  <a:gd name="T7" fmla="*/ 3174 h 5040"/>
                  <a:gd name="T8" fmla="*/ 3683 w 5040"/>
                  <a:gd name="T9" fmla="*/ 3174 h 5040"/>
                  <a:gd name="T10" fmla="*/ 3683 w 5040"/>
                  <a:gd name="T11" fmla="*/ 2611 h 5040"/>
                  <a:gd name="T12" fmla="*/ 3193 w 5040"/>
                  <a:gd name="T13" fmla="*/ 2611 h 5040"/>
                  <a:gd name="T14" fmla="*/ 3193 w 5040"/>
                  <a:gd name="T15" fmla="*/ 3174 h 5040"/>
                  <a:gd name="T16" fmla="*/ 2614 w 5040"/>
                  <a:gd name="T17" fmla="*/ 3174 h 5040"/>
                  <a:gd name="T18" fmla="*/ 2614 w 5040"/>
                  <a:gd name="T19" fmla="*/ 3697 h 5040"/>
                  <a:gd name="T20" fmla="*/ 3193 w 5040"/>
                  <a:gd name="T21" fmla="*/ 3697 h 5040"/>
                  <a:gd name="T22" fmla="*/ 3193 w 5040"/>
                  <a:gd name="T23" fmla="*/ 5040 h 5040"/>
                  <a:gd name="T24" fmla="*/ 1850 w 5040"/>
                  <a:gd name="T25" fmla="*/ 5040 h 5040"/>
                  <a:gd name="T26" fmla="*/ 1850 w 5040"/>
                  <a:gd name="T27" fmla="*/ 3697 h 5040"/>
                  <a:gd name="T28" fmla="*/ 2413 w 5040"/>
                  <a:gd name="T29" fmla="*/ 3697 h 5040"/>
                  <a:gd name="T30" fmla="*/ 2413 w 5040"/>
                  <a:gd name="T31" fmla="*/ 3174 h 5040"/>
                  <a:gd name="T32" fmla="*/ 1850 w 5040"/>
                  <a:gd name="T33" fmla="*/ 3174 h 5040"/>
                  <a:gd name="T34" fmla="*/ 1850 w 5040"/>
                  <a:gd name="T35" fmla="*/ 2611 h 5040"/>
                  <a:gd name="T36" fmla="*/ 1343 w 5040"/>
                  <a:gd name="T37" fmla="*/ 2611 h 5040"/>
                  <a:gd name="T38" fmla="*/ 1343 w 5040"/>
                  <a:gd name="T39" fmla="*/ 3174 h 5040"/>
                  <a:gd name="T40" fmla="*/ 780 w 5040"/>
                  <a:gd name="T41" fmla="*/ 3174 h 5040"/>
                  <a:gd name="T42" fmla="*/ 780 w 5040"/>
                  <a:gd name="T43" fmla="*/ 3697 h 5040"/>
                  <a:gd name="T44" fmla="*/ 1343 w 5040"/>
                  <a:gd name="T45" fmla="*/ 3697 h 5040"/>
                  <a:gd name="T46" fmla="*/ 1343 w 5040"/>
                  <a:gd name="T47" fmla="*/ 5040 h 5040"/>
                  <a:gd name="T48" fmla="*/ 0 w 5040"/>
                  <a:gd name="T49" fmla="*/ 5040 h 5040"/>
                  <a:gd name="T50" fmla="*/ 0 w 5040"/>
                  <a:gd name="T51" fmla="*/ 3697 h 5040"/>
                  <a:gd name="T52" fmla="*/ 563 w 5040"/>
                  <a:gd name="T53" fmla="*/ 3697 h 5040"/>
                  <a:gd name="T54" fmla="*/ 563 w 5040"/>
                  <a:gd name="T55" fmla="*/ 3174 h 5040"/>
                  <a:gd name="T56" fmla="*/ 0 w 5040"/>
                  <a:gd name="T57" fmla="*/ 3174 h 5040"/>
                  <a:gd name="T58" fmla="*/ 0 w 5040"/>
                  <a:gd name="T59" fmla="*/ 1833 h 5040"/>
                  <a:gd name="T60" fmla="*/ 1343 w 5040"/>
                  <a:gd name="T61" fmla="*/ 1833 h 5040"/>
                  <a:gd name="T62" fmla="*/ 1343 w 5040"/>
                  <a:gd name="T63" fmla="*/ 2396 h 5040"/>
                  <a:gd name="T64" fmla="*/ 1850 w 5040"/>
                  <a:gd name="T65" fmla="*/ 2396 h 5040"/>
                  <a:gd name="T66" fmla="*/ 1850 w 5040"/>
                  <a:gd name="T67" fmla="*/ 1833 h 5040"/>
                  <a:gd name="T68" fmla="*/ 2413 w 5040"/>
                  <a:gd name="T69" fmla="*/ 1833 h 5040"/>
                  <a:gd name="T70" fmla="*/ 2413 w 5040"/>
                  <a:gd name="T71" fmla="*/ 1341 h 5040"/>
                  <a:gd name="T72" fmla="*/ 1850 w 5040"/>
                  <a:gd name="T73" fmla="*/ 1341 h 5040"/>
                  <a:gd name="T74" fmla="*/ 1850 w 5040"/>
                  <a:gd name="T75" fmla="*/ 0 h 5040"/>
                  <a:gd name="T76" fmla="*/ 3193 w 5040"/>
                  <a:gd name="T77" fmla="*/ 0 h 5040"/>
                  <a:gd name="T78" fmla="*/ 3193 w 5040"/>
                  <a:gd name="T79" fmla="*/ 1341 h 5040"/>
                  <a:gd name="T80" fmla="*/ 2614 w 5040"/>
                  <a:gd name="T81" fmla="*/ 1341 h 5040"/>
                  <a:gd name="T82" fmla="*/ 2614 w 5040"/>
                  <a:gd name="T83" fmla="*/ 1833 h 5040"/>
                  <a:gd name="T84" fmla="*/ 3193 w 5040"/>
                  <a:gd name="T85" fmla="*/ 1833 h 5040"/>
                  <a:gd name="T86" fmla="*/ 3193 w 5040"/>
                  <a:gd name="T87" fmla="*/ 2396 h 5040"/>
                  <a:gd name="T88" fmla="*/ 3683 w 5040"/>
                  <a:gd name="T89" fmla="*/ 2396 h 5040"/>
                  <a:gd name="T90" fmla="*/ 3683 w 5040"/>
                  <a:gd name="T91" fmla="*/ 1833 h 5040"/>
                  <a:gd name="T92" fmla="*/ 3683 w 5040"/>
                  <a:gd name="T93" fmla="*/ 1833 h 50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40" h="5040">
                    <a:moveTo>
                      <a:pt x="3683" y="1833"/>
                    </a:moveTo>
                    <a:lnTo>
                      <a:pt x="3683" y="1833"/>
                    </a:lnTo>
                    <a:lnTo>
                      <a:pt x="5040" y="1833"/>
                    </a:lnTo>
                    <a:lnTo>
                      <a:pt x="5040" y="3174"/>
                    </a:lnTo>
                    <a:lnTo>
                      <a:pt x="3683" y="3174"/>
                    </a:lnTo>
                    <a:lnTo>
                      <a:pt x="3683" y="2611"/>
                    </a:lnTo>
                    <a:lnTo>
                      <a:pt x="3193" y="2611"/>
                    </a:lnTo>
                    <a:lnTo>
                      <a:pt x="3193" y="3174"/>
                    </a:lnTo>
                    <a:lnTo>
                      <a:pt x="2614" y="3174"/>
                    </a:lnTo>
                    <a:lnTo>
                      <a:pt x="2614" y="3697"/>
                    </a:lnTo>
                    <a:lnTo>
                      <a:pt x="3193" y="3697"/>
                    </a:lnTo>
                    <a:lnTo>
                      <a:pt x="3193" y="5040"/>
                    </a:lnTo>
                    <a:lnTo>
                      <a:pt x="1850" y="5040"/>
                    </a:lnTo>
                    <a:lnTo>
                      <a:pt x="1850" y="3697"/>
                    </a:lnTo>
                    <a:lnTo>
                      <a:pt x="2413" y="3697"/>
                    </a:lnTo>
                    <a:lnTo>
                      <a:pt x="2413" y="3174"/>
                    </a:lnTo>
                    <a:lnTo>
                      <a:pt x="1850" y="3174"/>
                    </a:lnTo>
                    <a:lnTo>
                      <a:pt x="1850" y="2611"/>
                    </a:lnTo>
                    <a:lnTo>
                      <a:pt x="1343" y="2611"/>
                    </a:lnTo>
                    <a:lnTo>
                      <a:pt x="1343" y="3174"/>
                    </a:lnTo>
                    <a:lnTo>
                      <a:pt x="780" y="3174"/>
                    </a:lnTo>
                    <a:lnTo>
                      <a:pt x="780" y="3697"/>
                    </a:lnTo>
                    <a:lnTo>
                      <a:pt x="1343" y="3697"/>
                    </a:lnTo>
                    <a:lnTo>
                      <a:pt x="1343" y="5040"/>
                    </a:lnTo>
                    <a:lnTo>
                      <a:pt x="0" y="5040"/>
                    </a:lnTo>
                    <a:lnTo>
                      <a:pt x="0" y="3697"/>
                    </a:lnTo>
                    <a:lnTo>
                      <a:pt x="563" y="3697"/>
                    </a:lnTo>
                    <a:lnTo>
                      <a:pt x="563" y="3174"/>
                    </a:lnTo>
                    <a:lnTo>
                      <a:pt x="0" y="3174"/>
                    </a:lnTo>
                    <a:lnTo>
                      <a:pt x="0" y="1833"/>
                    </a:lnTo>
                    <a:lnTo>
                      <a:pt x="1343" y="1833"/>
                    </a:lnTo>
                    <a:lnTo>
                      <a:pt x="1343" y="2396"/>
                    </a:lnTo>
                    <a:lnTo>
                      <a:pt x="1850" y="2396"/>
                    </a:lnTo>
                    <a:lnTo>
                      <a:pt x="1850" y="1833"/>
                    </a:lnTo>
                    <a:lnTo>
                      <a:pt x="2413" y="1833"/>
                    </a:lnTo>
                    <a:lnTo>
                      <a:pt x="2413" y="1341"/>
                    </a:lnTo>
                    <a:lnTo>
                      <a:pt x="1850" y="1341"/>
                    </a:lnTo>
                    <a:lnTo>
                      <a:pt x="1850" y="0"/>
                    </a:lnTo>
                    <a:lnTo>
                      <a:pt x="3193" y="0"/>
                    </a:lnTo>
                    <a:lnTo>
                      <a:pt x="3193" y="1341"/>
                    </a:lnTo>
                    <a:lnTo>
                      <a:pt x="2614" y="1341"/>
                    </a:lnTo>
                    <a:lnTo>
                      <a:pt x="2614" y="1833"/>
                    </a:lnTo>
                    <a:lnTo>
                      <a:pt x="3193" y="1833"/>
                    </a:lnTo>
                    <a:lnTo>
                      <a:pt x="3193" y="2396"/>
                    </a:lnTo>
                    <a:lnTo>
                      <a:pt x="3683" y="2396"/>
                    </a:lnTo>
                    <a:lnTo>
                      <a:pt x="3683" y="1833"/>
                    </a:lnTo>
                    <a:lnTo>
                      <a:pt x="3683" y="183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10724262" y="2874639"/>
              <a:ext cx="699546" cy="745667"/>
              <a:chOff x="8791575" y="-838200"/>
              <a:chExt cx="973138" cy="1154113"/>
            </a:xfrm>
            <a:solidFill>
              <a:schemeClr val="accent1"/>
            </a:solidFill>
          </p:grpSpPr>
          <p:sp>
            <p:nvSpPr>
              <p:cNvPr id="42" name="Freeform 7" hidden="1"/>
              <p:cNvSpPr>
                <a:spLocks/>
              </p:cNvSpPr>
              <p:nvPr/>
            </p:nvSpPr>
            <p:spPr bwMode="auto">
              <a:xfrm>
                <a:off x="8829675" y="-808037"/>
                <a:ext cx="896938" cy="1082675"/>
              </a:xfrm>
              <a:custGeom>
                <a:avLst/>
                <a:gdLst>
                  <a:gd name="T0" fmla="*/ 0 w 565"/>
                  <a:gd name="T1" fmla="*/ 9 h 682"/>
                  <a:gd name="T2" fmla="*/ 7 w 565"/>
                  <a:gd name="T3" fmla="*/ 538 h 682"/>
                  <a:gd name="T4" fmla="*/ 73 w 565"/>
                  <a:gd name="T5" fmla="*/ 595 h 682"/>
                  <a:gd name="T6" fmla="*/ 123 w 565"/>
                  <a:gd name="T7" fmla="*/ 630 h 682"/>
                  <a:gd name="T8" fmla="*/ 137 w 565"/>
                  <a:gd name="T9" fmla="*/ 670 h 682"/>
                  <a:gd name="T10" fmla="*/ 549 w 565"/>
                  <a:gd name="T11" fmla="*/ 682 h 682"/>
                  <a:gd name="T12" fmla="*/ 565 w 565"/>
                  <a:gd name="T13" fmla="*/ 659 h 682"/>
                  <a:gd name="T14" fmla="*/ 553 w 565"/>
                  <a:gd name="T15" fmla="*/ 292 h 682"/>
                  <a:gd name="T16" fmla="*/ 260 w 565"/>
                  <a:gd name="T17" fmla="*/ 0 h 682"/>
                  <a:gd name="T18" fmla="*/ 0 w 565"/>
                  <a:gd name="T19" fmla="*/ 9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5" h="682">
                    <a:moveTo>
                      <a:pt x="0" y="9"/>
                    </a:moveTo>
                    <a:lnTo>
                      <a:pt x="7" y="538"/>
                    </a:lnTo>
                    <a:lnTo>
                      <a:pt x="73" y="595"/>
                    </a:lnTo>
                    <a:lnTo>
                      <a:pt x="123" y="630"/>
                    </a:lnTo>
                    <a:lnTo>
                      <a:pt x="137" y="670"/>
                    </a:lnTo>
                    <a:lnTo>
                      <a:pt x="549" y="682"/>
                    </a:lnTo>
                    <a:lnTo>
                      <a:pt x="565" y="659"/>
                    </a:lnTo>
                    <a:lnTo>
                      <a:pt x="553" y="292"/>
                    </a:lnTo>
                    <a:lnTo>
                      <a:pt x="26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/>
              <a:p>
                <a:pPr algn="ctr" defTabSz="1194923"/>
                <a:endParaRPr lang="en-US" sz="1568">
                  <a:solidFill>
                    <a:srgbClr val="FFFFFF">
                      <a:alpha val="99000"/>
                    </a:srgbClr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Freeform 6"/>
              <p:cNvSpPr>
                <a:spLocks noEditPoints="1"/>
              </p:cNvSpPr>
              <p:nvPr/>
            </p:nvSpPr>
            <p:spPr bwMode="auto">
              <a:xfrm>
                <a:off x="8791575" y="-838200"/>
                <a:ext cx="973138" cy="1154113"/>
              </a:xfrm>
              <a:custGeom>
                <a:avLst/>
                <a:gdLst>
                  <a:gd name="T0" fmla="*/ 249 w 259"/>
                  <a:gd name="T1" fmla="*/ 122 h 308"/>
                  <a:gd name="T2" fmla="*/ 225 w 259"/>
                  <a:gd name="T3" fmla="*/ 101 h 308"/>
                  <a:gd name="T4" fmla="*/ 221 w 259"/>
                  <a:gd name="T5" fmla="*/ 95 h 308"/>
                  <a:gd name="T6" fmla="*/ 199 w 259"/>
                  <a:gd name="T7" fmla="*/ 74 h 308"/>
                  <a:gd name="T8" fmla="*/ 193 w 259"/>
                  <a:gd name="T9" fmla="*/ 67 h 308"/>
                  <a:gd name="T10" fmla="*/ 130 w 259"/>
                  <a:gd name="T11" fmla="*/ 7 h 308"/>
                  <a:gd name="T12" fmla="*/ 113 w 259"/>
                  <a:gd name="T13" fmla="*/ 0 h 308"/>
                  <a:gd name="T14" fmla="*/ 21 w 259"/>
                  <a:gd name="T15" fmla="*/ 0 h 308"/>
                  <a:gd name="T16" fmla="*/ 0 w 259"/>
                  <a:gd name="T17" fmla="*/ 18 h 308"/>
                  <a:gd name="T18" fmla="*/ 0 w 259"/>
                  <a:gd name="T19" fmla="*/ 229 h 308"/>
                  <a:gd name="T20" fmla="*/ 21 w 259"/>
                  <a:gd name="T21" fmla="*/ 253 h 308"/>
                  <a:gd name="T22" fmla="*/ 28 w 259"/>
                  <a:gd name="T23" fmla="*/ 253 h 308"/>
                  <a:gd name="T24" fmla="*/ 28 w 259"/>
                  <a:gd name="T25" fmla="*/ 256 h 308"/>
                  <a:gd name="T26" fmla="*/ 49 w 259"/>
                  <a:gd name="T27" fmla="*/ 281 h 308"/>
                  <a:gd name="T28" fmla="*/ 56 w 259"/>
                  <a:gd name="T29" fmla="*/ 281 h 308"/>
                  <a:gd name="T30" fmla="*/ 56 w 259"/>
                  <a:gd name="T31" fmla="*/ 284 h 308"/>
                  <a:gd name="T32" fmla="*/ 77 w 259"/>
                  <a:gd name="T33" fmla="*/ 308 h 308"/>
                  <a:gd name="T34" fmla="*/ 231 w 259"/>
                  <a:gd name="T35" fmla="*/ 308 h 308"/>
                  <a:gd name="T36" fmla="*/ 256 w 259"/>
                  <a:gd name="T37" fmla="*/ 284 h 308"/>
                  <a:gd name="T38" fmla="*/ 256 w 259"/>
                  <a:gd name="T39" fmla="*/ 140 h 308"/>
                  <a:gd name="T40" fmla="*/ 249 w 259"/>
                  <a:gd name="T41" fmla="*/ 122 h 308"/>
                  <a:gd name="T42" fmla="*/ 140 w 259"/>
                  <a:gd name="T43" fmla="*/ 46 h 308"/>
                  <a:gd name="T44" fmla="*/ 151 w 259"/>
                  <a:gd name="T45" fmla="*/ 56 h 308"/>
                  <a:gd name="T46" fmla="*/ 140 w 259"/>
                  <a:gd name="T47" fmla="*/ 56 h 308"/>
                  <a:gd name="T48" fmla="*/ 140 w 259"/>
                  <a:gd name="T49" fmla="*/ 46 h 308"/>
                  <a:gd name="T50" fmla="*/ 123 w 259"/>
                  <a:gd name="T51" fmla="*/ 28 h 308"/>
                  <a:gd name="T52" fmla="*/ 113 w 259"/>
                  <a:gd name="T53" fmla="*/ 28 h 308"/>
                  <a:gd name="T54" fmla="*/ 113 w 259"/>
                  <a:gd name="T55" fmla="*/ 18 h 308"/>
                  <a:gd name="T56" fmla="*/ 123 w 259"/>
                  <a:gd name="T57" fmla="*/ 28 h 308"/>
                  <a:gd name="T58" fmla="*/ 18 w 259"/>
                  <a:gd name="T59" fmla="*/ 232 h 308"/>
                  <a:gd name="T60" fmla="*/ 18 w 259"/>
                  <a:gd name="T61" fmla="*/ 18 h 308"/>
                  <a:gd name="T62" fmla="*/ 92 w 259"/>
                  <a:gd name="T63" fmla="*/ 18 h 308"/>
                  <a:gd name="T64" fmla="*/ 92 w 259"/>
                  <a:gd name="T65" fmla="*/ 28 h 308"/>
                  <a:gd name="T66" fmla="*/ 49 w 259"/>
                  <a:gd name="T67" fmla="*/ 28 h 308"/>
                  <a:gd name="T68" fmla="*/ 28 w 259"/>
                  <a:gd name="T69" fmla="*/ 46 h 308"/>
                  <a:gd name="T70" fmla="*/ 28 w 259"/>
                  <a:gd name="T71" fmla="*/ 232 h 308"/>
                  <a:gd name="T72" fmla="*/ 18 w 259"/>
                  <a:gd name="T73" fmla="*/ 232 h 308"/>
                  <a:gd name="T74" fmla="*/ 46 w 259"/>
                  <a:gd name="T75" fmla="*/ 260 h 308"/>
                  <a:gd name="T76" fmla="*/ 46 w 259"/>
                  <a:gd name="T77" fmla="*/ 46 h 308"/>
                  <a:gd name="T78" fmla="*/ 119 w 259"/>
                  <a:gd name="T79" fmla="*/ 46 h 308"/>
                  <a:gd name="T80" fmla="*/ 119 w 259"/>
                  <a:gd name="T81" fmla="*/ 56 h 308"/>
                  <a:gd name="T82" fmla="*/ 77 w 259"/>
                  <a:gd name="T83" fmla="*/ 56 h 308"/>
                  <a:gd name="T84" fmla="*/ 56 w 259"/>
                  <a:gd name="T85" fmla="*/ 73 h 308"/>
                  <a:gd name="T86" fmla="*/ 56 w 259"/>
                  <a:gd name="T87" fmla="*/ 260 h 308"/>
                  <a:gd name="T88" fmla="*/ 46 w 259"/>
                  <a:gd name="T89" fmla="*/ 260 h 308"/>
                  <a:gd name="T90" fmla="*/ 238 w 259"/>
                  <a:gd name="T91" fmla="*/ 287 h 308"/>
                  <a:gd name="T92" fmla="*/ 74 w 259"/>
                  <a:gd name="T93" fmla="*/ 287 h 308"/>
                  <a:gd name="T94" fmla="*/ 74 w 259"/>
                  <a:gd name="T95" fmla="*/ 73 h 308"/>
                  <a:gd name="T96" fmla="*/ 147 w 259"/>
                  <a:gd name="T97" fmla="*/ 73 h 308"/>
                  <a:gd name="T98" fmla="*/ 147 w 259"/>
                  <a:gd name="T99" fmla="*/ 140 h 308"/>
                  <a:gd name="T100" fmla="*/ 168 w 259"/>
                  <a:gd name="T101" fmla="*/ 165 h 308"/>
                  <a:gd name="T102" fmla="*/ 238 w 259"/>
                  <a:gd name="T103" fmla="*/ 165 h 308"/>
                  <a:gd name="T104" fmla="*/ 238 w 259"/>
                  <a:gd name="T105" fmla="*/ 287 h 308"/>
                  <a:gd name="T106" fmla="*/ 168 w 259"/>
                  <a:gd name="T107" fmla="*/ 140 h 308"/>
                  <a:gd name="T108" fmla="*/ 168 w 259"/>
                  <a:gd name="T109" fmla="*/ 73 h 308"/>
                  <a:gd name="T110" fmla="*/ 238 w 259"/>
                  <a:gd name="T111" fmla="*/ 140 h 308"/>
                  <a:gd name="T112" fmla="*/ 168 w 259"/>
                  <a:gd name="T113" fmla="*/ 14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9" h="308">
                    <a:moveTo>
                      <a:pt x="249" y="122"/>
                    </a:moveTo>
                    <a:cubicBezTo>
                      <a:pt x="240" y="114"/>
                      <a:pt x="232" y="107"/>
                      <a:pt x="225" y="101"/>
                    </a:cubicBezTo>
                    <a:cubicBezTo>
                      <a:pt x="224" y="99"/>
                      <a:pt x="223" y="97"/>
                      <a:pt x="221" y="95"/>
                    </a:cubicBezTo>
                    <a:cubicBezTo>
                      <a:pt x="212" y="87"/>
                      <a:pt x="205" y="80"/>
                      <a:pt x="199" y="74"/>
                    </a:cubicBezTo>
                    <a:cubicBezTo>
                      <a:pt x="198" y="72"/>
                      <a:pt x="196" y="69"/>
                      <a:pt x="193" y="67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23" y="0"/>
                      <a:pt x="120" y="0"/>
                      <a:pt x="1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1" y="0"/>
                      <a:pt x="0" y="7"/>
                      <a:pt x="0" y="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9"/>
                      <a:pt x="11" y="253"/>
                      <a:pt x="21" y="253"/>
                    </a:cubicBezTo>
                    <a:cubicBezTo>
                      <a:pt x="24" y="253"/>
                      <a:pt x="26" y="253"/>
                      <a:pt x="28" y="253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8" y="267"/>
                      <a:pt x="39" y="281"/>
                      <a:pt x="49" y="281"/>
                    </a:cubicBezTo>
                    <a:cubicBezTo>
                      <a:pt x="52" y="281"/>
                      <a:pt x="54" y="281"/>
                      <a:pt x="56" y="281"/>
                    </a:cubicBezTo>
                    <a:cubicBezTo>
                      <a:pt x="56" y="284"/>
                      <a:pt x="56" y="284"/>
                      <a:pt x="56" y="284"/>
                    </a:cubicBezTo>
                    <a:cubicBezTo>
                      <a:pt x="56" y="294"/>
                      <a:pt x="67" y="308"/>
                      <a:pt x="77" y="308"/>
                    </a:cubicBezTo>
                    <a:cubicBezTo>
                      <a:pt x="231" y="308"/>
                      <a:pt x="231" y="308"/>
                      <a:pt x="231" y="308"/>
                    </a:cubicBezTo>
                    <a:cubicBezTo>
                      <a:pt x="245" y="308"/>
                      <a:pt x="256" y="294"/>
                      <a:pt x="256" y="284"/>
                    </a:cubicBezTo>
                    <a:cubicBezTo>
                      <a:pt x="256" y="140"/>
                      <a:pt x="256" y="140"/>
                      <a:pt x="256" y="140"/>
                    </a:cubicBezTo>
                    <a:cubicBezTo>
                      <a:pt x="256" y="140"/>
                      <a:pt x="259" y="133"/>
                      <a:pt x="249" y="122"/>
                    </a:cubicBezTo>
                    <a:close/>
                    <a:moveTo>
                      <a:pt x="140" y="46"/>
                    </a:moveTo>
                    <a:cubicBezTo>
                      <a:pt x="144" y="49"/>
                      <a:pt x="148" y="53"/>
                      <a:pt x="151" y="56"/>
                    </a:cubicBezTo>
                    <a:cubicBezTo>
                      <a:pt x="147" y="56"/>
                      <a:pt x="144" y="56"/>
                      <a:pt x="140" y="56"/>
                    </a:cubicBezTo>
                    <a:cubicBezTo>
                      <a:pt x="140" y="46"/>
                      <a:pt x="140" y="46"/>
                      <a:pt x="140" y="46"/>
                    </a:cubicBezTo>
                    <a:close/>
                    <a:moveTo>
                      <a:pt x="123" y="28"/>
                    </a:moveTo>
                    <a:cubicBezTo>
                      <a:pt x="120" y="28"/>
                      <a:pt x="116" y="28"/>
                      <a:pt x="113" y="28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16" y="21"/>
                      <a:pt x="120" y="25"/>
                      <a:pt x="123" y="28"/>
                    </a:cubicBezTo>
                    <a:close/>
                    <a:moveTo>
                      <a:pt x="18" y="232"/>
                    </a:moveTo>
                    <a:cubicBezTo>
                      <a:pt x="18" y="21"/>
                      <a:pt x="18" y="18"/>
                      <a:pt x="18" y="18"/>
                    </a:cubicBezTo>
                    <a:cubicBezTo>
                      <a:pt x="88" y="18"/>
                      <a:pt x="92" y="18"/>
                      <a:pt x="92" y="18"/>
                    </a:cubicBezTo>
                    <a:cubicBezTo>
                      <a:pt x="92" y="21"/>
                      <a:pt x="92" y="25"/>
                      <a:pt x="92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9" y="28"/>
                      <a:pt x="28" y="35"/>
                      <a:pt x="28" y="46"/>
                    </a:cubicBezTo>
                    <a:cubicBezTo>
                      <a:pt x="28" y="154"/>
                      <a:pt x="28" y="206"/>
                      <a:pt x="28" y="232"/>
                    </a:cubicBezTo>
                    <a:cubicBezTo>
                      <a:pt x="19" y="232"/>
                      <a:pt x="18" y="232"/>
                      <a:pt x="18" y="232"/>
                    </a:cubicBezTo>
                    <a:close/>
                    <a:moveTo>
                      <a:pt x="46" y="260"/>
                    </a:moveTo>
                    <a:cubicBezTo>
                      <a:pt x="46" y="49"/>
                      <a:pt x="46" y="46"/>
                      <a:pt x="46" y="46"/>
                    </a:cubicBezTo>
                    <a:cubicBezTo>
                      <a:pt x="116" y="46"/>
                      <a:pt x="119" y="46"/>
                      <a:pt x="119" y="46"/>
                    </a:cubicBezTo>
                    <a:cubicBezTo>
                      <a:pt x="119" y="49"/>
                      <a:pt x="119" y="53"/>
                      <a:pt x="119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67" y="56"/>
                      <a:pt x="56" y="63"/>
                      <a:pt x="56" y="73"/>
                    </a:cubicBezTo>
                    <a:cubicBezTo>
                      <a:pt x="56" y="182"/>
                      <a:pt x="56" y="234"/>
                      <a:pt x="56" y="260"/>
                    </a:cubicBezTo>
                    <a:cubicBezTo>
                      <a:pt x="47" y="260"/>
                      <a:pt x="46" y="260"/>
                      <a:pt x="46" y="260"/>
                    </a:cubicBezTo>
                    <a:close/>
                    <a:moveTo>
                      <a:pt x="238" y="287"/>
                    </a:moveTo>
                    <a:cubicBezTo>
                      <a:pt x="84" y="287"/>
                      <a:pt x="74" y="287"/>
                      <a:pt x="74" y="287"/>
                    </a:cubicBezTo>
                    <a:cubicBezTo>
                      <a:pt x="74" y="77"/>
                      <a:pt x="74" y="73"/>
                      <a:pt x="74" y="73"/>
                    </a:cubicBezTo>
                    <a:cubicBezTo>
                      <a:pt x="144" y="73"/>
                      <a:pt x="147" y="73"/>
                      <a:pt x="147" y="73"/>
                    </a:cubicBezTo>
                    <a:cubicBezTo>
                      <a:pt x="147" y="136"/>
                      <a:pt x="147" y="140"/>
                      <a:pt x="147" y="140"/>
                    </a:cubicBezTo>
                    <a:cubicBezTo>
                      <a:pt x="147" y="151"/>
                      <a:pt x="154" y="165"/>
                      <a:pt x="168" y="165"/>
                    </a:cubicBezTo>
                    <a:cubicBezTo>
                      <a:pt x="231" y="165"/>
                      <a:pt x="238" y="165"/>
                      <a:pt x="238" y="165"/>
                    </a:cubicBezTo>
                    <a:lnTo>
                      <a:pt x="238" y="287"/>
                    </a:lnTo>
                    <a:close/>
                    <a:moveTo>
                      <a:pt x="168" y="140"/>
                    </a:moveTo>
                    <a:cubicBezTo>
                      <a:pt x="168" y="73"/>
                      <a:pt x="168" y="73"/>
                      <a:pt x="168" y="73"/>
                    </a:cubicBezTo>
                    <a:cubicBezTo>
                      <a:pt x="238" y="140"/>
                      <a:pt x="238" y="140"/>
                      <a:pt x="238" y="140"/>
                    </a:cubicBezTo>
                    <a:lnTo>
                      <a:pt x="168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68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845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750"/>
                            </p:stCondLst>
                            <p:childTnLst>
                              <p:par>
                                <p:cTn id="30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Data Velocity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altLang="ko-KR" sz="2800" dirty="0"/>
              <a:t>Hadoop</a:t>
            </a:r>
            <a:r>
              <a:rPr lang="ko-KR" altLang="en-US" sz="2800"/>
              <a:t>은 데이터를 라이브 스트리밍 하고 실시간으로 프로세싱 할 수 있음</a:t>
            </a:r>
            <a:endParaRPr lang="en-US" altLang="ko-KR" sz="2800" dirty="0"/>
          </a:p>
          <a:p>
            <a:pPr lvl="1"/>
            <a:r>
              <a:rPr lang="en-US" altLang="ko-KR" sz="1800" dirty="0"/>
              <a:t>Hadoop</a:t>
            </a:r>
            <a:r>
              <a:rPr lang="ko-KR" altLang="en-US" sz="1800"/>
              <a:t>은 규모있는 이벤트 스트림 데이터를 수집할 수 있음</a:t>
            </a:r>
            <a:endParaRPr lang="en-US" altLang="ko-KR" sz="400" dirty="0">
              <a:gradFill>
                <a:gsLst>
                  <a:gs pos="2920">
                    <a:schemeClr val="tx2"/>
                  </a:gs>
                  <a:gs pos="39000">
                    <a:schemeClr val="tx2"/>
                  </a:gs>
                </a:gsLst>
                <a:lin ang="5400000" scaled="0"/>
              </a:gradFill>
            </a:endParaRPr>
          </a:p>
          <a:p>
            <a:endParaRPr lang="ko-KR" altLang="en-US" sz="2800" dirty="0"/>
          </a:p>
        </p:txBody>
      </p:sp>
      <p:sp>
        <p:nvSpPr>
          <p:cNvPr id="4" name="Right Arrow 18"/>
          <p:cNvSpPr/>
          <p:nvPr/>
        </p:nvSpPr>
        <p:spPr bwMode="auto">
          <a:xfrm>
            <a:off x="1778244" y="4511979"/>
            <a:ext cx="10144207" cy="778945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ight Arrow 19"/>
          <p:cNvSpPr/>
          <p:nvPr/>
        </p:nvSpPr>
        <p:spPr bwMode="auto">
          <a:xfrm>
            <a:off x="1778244" y="5575684"/>
            <a:ext cx="10144207" cy="778945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17"/>
          <p:cNvSpPr/>
          <p:nvPr/>
        </p:nvSpPr>
        <p:spPr bwMode="auto">
          <a:xfrm>
            <a:off x="1778244" y="3448274"/>
            <a:ext cx="10144207" cy="778945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7" name="Group 3"/>
          <p:cNvGrpSpPr/>
          <p:nvPr/>
        </p:nvGrpSpPr>
        <p:grpSpPr>
          <a:xfrm>
            <a:off x="475305" y="2792068"/>
            <a:ext cx="2508739" cy="3774420"/>
            <a:chOff x="484836" y="2847558"/>
            <a:chExt cx="2559044" cy="3850105"/>
          </a:xfrm>
        </p:grpSpPr>
        <p:sp>
          <p:nvSpPr>
            <p:cNvPr id="8" name="Rectangle 4"/>
            <p:cNvSpPr/>
            <p:nvPr/>
          </p:nvSpPr>
          <p:spPr bwMode="auto">
            <a:xfrm>
              <a:off x="484836" y="2847558"/>
              <a:ext cx="2559044" cy="385010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>
                <a:lnSpc>
                  <a:spcPct val="90000"/>
                </a:lnSpc>
              </a:pPr>
              <a:endParaRPr lang="en-US" sz="1961" b="1" dirty="0">
                <a:solidFill>
                  <a:srgbClr val="FFFFFF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pic>
          <p:nvPicPr>
            <p:cNvPr id="9" name="Picture 2" descr="\\MAGNUM\Projects\Microsoft\Cloud Power FY12\Design\ICONS_PNG\Devices.png"/>
            <p:cNvPicPr>
              <a:picLocks noChangeAspect="1" noChangeArrowheads="1"/>
            </p:cNvPicPr>
            <p:nvPr/>
          </p:nvPicPr>
          <p:blipFill>
            <a:blip r:embed="rId2" cstate="print">
              <a:lum bright="100000"/>
            </a:blip>
            <a:srcRect l="50000" r="2000" b="50000"/>
            <a:stretch>
              <a:fillRect/>
            </a:stretch>
          </p:blipFill>
          <p:spPr bwMode="auto">
            <a:xfrm>
              <a:off x="1293106" y="5546984"/>
              <a:ext cx="942505" cy="98177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Picture 2" descr="\\MAGNUM\Projects\Microsoft\Cloud Power FY12\Design\ICONS_PNG\Devices.png"/>
            <p:cNvPicPr>
              <a:picLocks noChangeAspect="1" noChangeArrowheads="1"/>
            </p:cNvPicPr>
            <p:nvPr/>
          </p:nvPicPr>
          <p:blipFill>
            <a:blip r:embed="rId2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1298746" y="4519837"/>
              <a:ext cx="931225" cy="931225"/>
            </a:xfrm>
            <a:prstGeom prst="rect">
              <a:avLst/>
            </a:prstGeom>
            <a:noFill/>
          </p:spPr>
        </p:pic>
        <p:pic>
          <p:nvPicPr>
            <p:cNvPr id="11" name="Picture 5" descr="\\MAGNUM\Projects\Microsoft\Cloud Power FY12\Design\ICONS_PNG\PaaS.png"/>
            <p:cNvPicPr>
              <a:picLocks noChangeAspect="1" noChangeArrowheads="1"/>
            </p:cNvPicPr>
            <p:nvPr/>
          </p:nvPicPr>
          <p:blipFill>
            <a:blip r:embed="rId3" cstate="print">
              <a:lum bright="100000"/>
            </a:blip>
            <a:stretch>
              <a:fillRect/>
            </a:stretch>
          </p:blipFill>
          <p:spPr bwMode="auto">
            <a:xfrm>
              <a:off x="1213455" y="3209680"/>
              <a:ext cx="1101807" cy="1101807"/>
            </a:xfrm>
            <a:prstGeom prst="rect">
              <a:avLst/>
            </a:prstGeom>
            <a:noFill/>
          </p:spPr>
        </p:pic>
        <p:sp>
          <p:nvSpPr>
            <p:cNvPr id="12" name="TextBox 11"/>
            <p:cNvSpPr txBox="1"/>
            <p:nvPr/>
          </p:nvSpPr>
          <p:spPr>
            <a:xfrm>
              <a:off x="1135960" y="4139353"/>
              <a:ext cx="1256797" cy="269508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r>
                <a:rPr lang="en-US" sz="1078" dirty="0">
                  <a:gradFill>
                    <a:gsLst>
                      <a:gs pos="2920">
                        <a:srgbClr val="FFFFFF"/>
                      </a:gs>
                      <a:gs pos="39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Application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135960" y="5344451"/>
              <a:ext cx="1256797" cy="269508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r>
                <a:rPr lang="en-US" sz="1078" dirty="0">
                  <a:gradFill>
                    <a:gsLst>
                      <a:gs pos="2920">
                        <a:srgbClr val="FFFFFF"/>
                      </a:gs>
                      <a:gs pos="39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vice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35960" y="6331640"/>
              <a:ext cx="1256797" cy="269508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r>
                <a:rPr lang="en-US" sz="1078" dirty="0">
                  <a:gradFill>
                    <a:gsLst>
                      <a:gs pos="2920">
                        <a:srgbClr val="FFFFFF"/>
                      </a:gs>
                      <a:gs pos="39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HTTP</a:t>
              </a:r>
            </a:p>
          </p:txBody>
        </p:sp>
      </p:grpSp>
      <p:grpSp>
        <p:nvGrpSpPr>
          <p:cNvPr id="15" name="Group 28"/>
          <p:cNvGrpSpPr/>
          <p:nvPr/>
        </p:nvGrpSpPr>
        <p:grpSpPr>
          <a:xfrm>
            <a:off x="5111193" y="2792068"/>
            <a:ext cx="4329637" cy="3774420"/>
            <a:chOff x="5213682" y="2847558"/>
            <a:chExt cx="4416455" cy="3850105"/>
          </a:xfrm>
        </p:grpSpPr>
        <p:sp>
          <p:nvSpPr>
            <p:cNvPr id="16" name="Rectangle 13"/>
            <p:cNvSpPr/>
            <p:nvPr/>
          </p:nvSpPr>
          <p:spPr bwMode="auto">
            <a:xfrm>
              <a:off x="5213682" y="2847558"/>
              <a:ext cx="4416455" cy="385010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>
                <a:lnSpc>
                  <a:spcPct val="90000"/>
                </a:lnSpc>
              </a:pPr>
              <a:endParaRPr lang="en-US" sz="1961" b="1" dirty="0">
                <a:solidFill>
                  <a:srgbClr val="FFFFFF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pic>
          <p:nvPicPr>
            <p:cNvPr id="17" name="Picture 7" descr="\\MAGNUM\Projects\Microsoft\Cloud Power FY12\Design\ICONS_PNG\Gears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7640262" y="3433500"/>
              <a:ext cx="914400" cy="914400"/>
            </a:xfrm>
            <a:prstGeom prst="rect">
              <a:avLst/>
            </a:prstGeom>
            <a:noFill/>
          </p:spPr>
        </p:pic>
        <p:pic>
          <p:nvPicPr>
            <p:cNvPr id="18" name="Picture 7" descr="\\MAGNUM\Projects\Microsoft\Cloud Power FY12\Design\ICONS_PNG\Gears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6120580" y="3665148"/>
              <a:ext cx="914400" cy="914400"/>
            </a:xfrm>
            <a:prstGeom prst="rect">
              <a:avLst/>
            </a:prstGeom>
            <a:noFill/>
          </p:spPr>
        </p:pic>
        <p:pic>
          <p:nvPicPr>
            <p:cNvPr id="19" name="Picture 7" descr="\\MAGNUM\Projects\Microsoft\Cloud Power FY12\Design\ICONS_PNG\Gears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6990519" y="4329397"/>
              <a:ext cx="914400" cy="914400"/>
            </a:xfrm>
            <a:prstGeom prst="rect">
              <a:avLst/>
            </a:prstGeom>
            <a:noFill/>
          </p:spPr>
        </p:pic>
        <p:pic>
          <p:nvPicPr>
            <p:cNvPr id="20" name="Picture 7" descr="\\MAGNUM\Projects\Microsoft\Cloud Power FY12\Design\ICONS_PNG\Gears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6030430" y="4606017"/>
              <a:ext cx="914400" cy="914400"/>
            </a:xfrm>
            <a:prstGeom prst="rect">
              <a:avLst/>
            </a:prstGeom>
            <a:noFill/>
          </p:spPr>
        </p:pic>
        <p:pic>
          <p:nvPicPr>
            <p:cNvPr id="21" name="Picture 7" descr="\\MAGNUM\Projects\Microsoft\Cloud Power FY12\Design\ICONS_PNG\Gears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7183062" y="5527975"/>
              <a:ext cx="914400" cy="914400"/>
            </a:xfrm>
            <a:prstGeom prst="rect">
              <a:avLst/>
            </a:prstGeom>
            <a:noFill/>
          </p:spPr>
        </p:pic>
        <p:pic>
          <p:nvPicPr>
            <p:cNvPr id="22" name="Picture 7" descr="\\MAGNUM\Projects\Microsoft\Cloud Power FY12\Design\ICONS_PNG\Gears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8090473" y="4813512"/>
              <a:ext cx="914400" cy="914400"/>
            </a:xfrm>
            <a:prstGeom prst="rect">
              <a:avLst/>
            </a:prstGeom>
            <a:noFill/>
          </p:spPr>
        </p:pic>
        <p:cxnSp>
          <p:nvCxnSpPr>
            <p:cNvPr id="23" name="Straight Arrow Connector 31"/>
            <p:cNvCxnSpPr/>
            <p:nvPr/>
          </p:nvCxnSpPr>
          <p:spPr>
            <a:xfrm flipV="1">
              <a:off x="6907244" y="3881065"/>
              <a:ext cx="869939" cy="124779"/>
            </a:xfrm>
            <a:prstGeom prst="straightConnector1">
              <a:avLst/>
            </a:prstGeom>
            <a:ln w="412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32"/>
            <p:cNvCxnSpPr/>
            <p:nvPr/>
          </p:nvCxnSpPr>
          <p:spPr>
            <a:xfrm flipV="1">
              <a:off x="6797976" y="4829849"/>
              <a:ext cx="544237" cy="131296"/>
            </a:xfrm>
            <a:prstGeom prst="straightConnector1">
              <a:avLst/>
            </a:prstGeom>
            <a:ln w="412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34"/>
            <p:cNvCxnSpPr/>
            <p:nvPr/>
          </p:nvCxnSpPr>
          <p:spPr>
            <a:xfrm>
              <a:off x="6756391" y="5401412"/>
              <a:ext cx="529189" cy="263347"/>
            </a:xfrm>
            <a:prstGeom prst="straightConnector1">
              <a:avLst/>
            </a:prstGeom>
            <a:ln w="412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36"/>
            <p:cNvCxnSpPr/>
            <p:nvPr/>
          </p:nvCxnSpPr>
          <p:spPr>
            <a:xfrm flipV="1">
              <a:off x="7640262" y="4183983"/>
              <a:ext cx="457200" cy="431692"/>
            </a:xfrm>
            <a:prstGeom prst="straightConnector1">
              <a:avLst/>
            </a:prstGeom>
            <a:ln w="412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38"/>
            <p:cNvCxnSpPr/>
            <p:nvPr/>
          </p:nvCxnSpPr>
          <p:spPr>
            <a:xfrm flipV="1">
              <a:off x="7861873" y="5402814"/>
              <a:ext cx="457200" cy="431692"/>
            </a:xfrm>
            <a:prstGeom prst="straightConnector1">
              <a:avLst/>
            </a:prstGeom>
            <a:ln w="412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/>
        </p:nvGrpSpPr>
        <p:grpSpPr>
          <a:xfrm>
            <a:off x="3165953" y="2792068"/>
            <a:ext cx="1763333" cy="3774420"/>
            <a:chOff x="3229436" y="2847558"/>
            <a:chExt cx="1798691" cy="3850105"/>
          </a:xfrm>
        </p:grpSpPr>
        <p:sp>
          <p:nvSpPr>
            <p:cNvPr id="29" name="Rectangle 11"/>
            <p:cNvSpPr/>
            <p:nvPr/>
          </p:nvSpPr>
          <p:spPr bwMode="auto">
            <a:xfrm>
              <a:off x="3229436" y="2847558"/>
              <a:ext cx="1798691" cy="385010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>
                <a:lnSpc>
                  <a:spcPct val="90000"/>
                </a:lnSpc>
              </a:pPr>
              <a:endParaRPr lang="en-US" sz="1961" b="1" dirty="0">
                <a:solidFill>
                  <a:srgbClr val="FFFFFF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2863862" y="4690197"/>
              <a:ext cx="2529838" cy="46683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r>
                <a:rPr lang="en-US" sz="1765" dirty="0">
                  <a:gradFill>
                    <a:gsLst>
                      <a:gs pos="2920">
                        <a:srgbClr val="FFFFFF"/>
                      </a:gs>
                      <a:gs pos="39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coming</a:t>
              </a:r>
            </a:p>
          </p:txBody>
        </p:sp>
      </p:grpSp>
      <p:grpSp>
        <p:nvGrpSpPr>
          <p:cNvPr id="31" name="Group 29"/>
          <p:cNvGrpSpPr/>
          <p:nvPr/>
        </p:nvGrpSpPr>
        <p:grpSpPr>
          <a:xfrm>
            <a:off x="9644696" y="2792068"/>
            <a:ext cx="1627268" cy="3774420"/>
            <a:chOff x="9838092" y="2847558"/>
            <a:chExt cx="1659898" cy="3850105"/>
          </a:xfrm>
        </p:grpSpPr>
        <p:sp>
          <p:nvSpPr>
            <p:cNvPr id="32" name="Rectangle 15"/>
            <p:cNvSpPr/>
            <p:nvPr/>
          </p:nvSpPr>
          <p:spPr bwMode="auto">
            <a:xfrm>
              <a:off x="9838092" y="2847558"/>
              <a:ext cx="1659898" cy="385010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>
                <a:lnSpc>
                  <a:spcPct val="90000"/>
                </a:lnSpc>
              </a:pPr>
              <a:endParaRPr lang="en-US" sz="1961" b="1" dirty="0">
                <a:solidFill>
                  <a:srgbClr val="FFFFFF"/>
                </a:soli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 rot="16200000">
              <a:off x="9403122" y="4690197"/>
              <a:ext cx="2529838" cy="46683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 anchor="ctr" anchorCtr="0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88"/>
                </a:spcAft>
              </a:pPr>
              <a:r>
                <a:rPr lang="en-US" sz="1765" dirty="0">
                  <a:gradFill>
                    <a:gsLst>
                      <a:gs pos="2920">
                        <a:srgbClr val="FFFFFF"/>
                      </a:gs>
                      <a:gs pos="39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Outgoing</a:t>
              </a:r>
            </a:p>
          </p:txBody>
        </p:sp>
      </p:grpSp>
      <p:sp>
        <p:nvSpPr>
          <p:cNvPr id="34" name="Rectangle 10"/>
          <p:cNvSpPr/>
          <p:nvPr/>
        </p:nvSpPr>
        <p:spPr bwMode="auto">
          <a:xfrm>
            <a:off x="475305" y="2574997"/>
            <a:ext cx="2508739" cy="56314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r>
              <a:rPr lang="en-US" sz="1961" b="1" dirty="0">
                <a:gradFill>
                  <a:gsLst>
                    <a:gs pos="2920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input</a:t>
            </a:r>
          </a:p>
        </p:txBody>
      </p:sp>
      <p:sp>
        <p:nvSpPr>
          <p:cNvPr id="35" name="Rectangle 12"/>
          <p:cNvSpPr/>
          <p:nvPr/>
        </p:nvSpPr>
        <p:spPr bwMode="auto">
          <a:xfrm>
            <a:off x="3165952" y="2574997"/>
            <a:ext cx="1763333" cy="56314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r>
              <a:rPr lang="en-US" sz="1961" b="1" dirty="0">
                <a:gradFill>
                  <a:gsLst>
                    <a:gs pos="2920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Event broker</a:t>
            </a:r>
          </a:p>
        </p:txBody>
      </p:sp>
      <p:sp>
        <p:nvSpPr>
          <p:cNvPr id="36" name="Rectangle 14"/>
          <p:cNvSpPr/>
          <p:nvPr/>
        </p:nvSpPr>
        <p:spPr bwMode="auto">
          <a:xfrm>
            <a:off x="5111192" y="2574997"/>
            <a:ext cx="4329637" cy="56314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r>
              <a:rPr lang="en-US" sz="1961" b="1" dirty="0">
                <a:gradFill>
                  <a:gsLst>
                    <a:gs pos="2920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tream processing</a:t>
            </a:r>
          </a:p>
        </p:txBody>
      </p:sp>
      <p:sp>
        <p:nvSpPr>
          <p:cNvPr id="37" name="Rectangle 16"/>
          <p:cNvSpPr/>
          <p:nvPr/>
        </p:nvSpPr>
        <p:spPr bwMode="auto">
          <a:xfrm>
            <a:off x="9644695" y="2574997"/>
            <a:ext cx="1627268" cy="56314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r>
              <a:rPr lang="en-US" sz="1961" b="1" dirty="0">
                <a:gradFill>
                  <a:gsLst>
                    <a:gs pos="2920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Outgoing</a:t>
            </a:r>
          </a:p>
        </p:txBody>
      </p:sp>
    </p:spTree>
    <p:extLst>
      <p:ext uri="{BB962C8B-B14F-4D97-AF65-F5344CB8AC3E}">
        <p14:creationId xmlns:p14="http://schemas.microsoft.com/office/powerpoint/2010/main" val="555096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350"/>
                            </p:stCondLst>
                            <p:childTnLst>
                              <p:par>
                                <p:cTn id="22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1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1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150"/>
                            </p:stCondLst>
                            <p:childTnLst>
                              <p:par>
                                <p:cTn id="39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34" grpId="0" animBg="1"/>
      <p:bldP spid="35" grpId="0" animBg="1"/>
      <p:bldP spid="36" grpId="0" animBg="1"/>
      <p:bldP spid="3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Hadoop</a:t>
            </a:r>
            <a:r>
              <a:rPr lang="ko-KR" altLang="en-US"/>
              <a:t>은 여러 프로젝트로 구성된 플랫폼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altLang="ko-KR" sz="2800" dirty="0"/>
              <a:t>Apache Software Foundation (ASF)</a:t>
            </a:r>
            <a:r>
              <a:rPr lang="ko-KR" altLang="en-US" sz="2800"/>
              <a:t>에 의해 통제됨</a:t>
            </a:r>
            <a:endParaRPr lang="en-US" altLang="ko-KR" sz="2800" dirty="0"/>
          </a:p>
          <a:p>
            <a:r>
              <a:rPr lang="en-US" altLang="ko-KR" sz="2800" dirty="0"/>
              <a:t>MapReduce, HDFS, YARN</a:t>
            </a:r>
            <a:r>
              <a:rPr lang="ko-KR" altLang="en-US" sz="2800"/>
              <a:t>으로 구성된 핵심 서비스</a:t>
            </a:r>
            <a:endParaRPr lang="en-US" altLang="ko-KR" sz="2800" dirty="0"/>
          </a:p>
          <a:p>
            <a:r>
              <a:rPr lang="ko-KR" altLang="en-US" sz="2800" dirty="0"/>
              <a:t>코어 서비스에 전체적인 기능들을 포함</a:t>
            </a:r>
            <a:r>
              <a:rPr lang="en-US" altLang="ko-KR" sz="2800" dirty="0"/>
              <a:t>: </a:t>
            </a:r>
          </a:p>
          <a:p>
            <a:pPr lvl="1"/>
            <a:r>
              <a:rPr lang="ko-KR" altLang="en-US" sz="1800" dirty="0"/>
              <a:t>데이터를 조작하고 이동할 수 있도록 하는 데이터 서비스</a:t>
            </a:r>
            <a:r>
              <a:rPr lang="en-US" altLang="ko-KR" sz="1800" dirty="0"/>
              <a:t>(Hive, </a:t>
            </a:r>
            <a:r>
              <a:rPr lang="en-US" altLang="ko-KR" sz="1800" dirty="0" err="1"/>
              <a:t>Hbase</a:t>
            </a:r>
            <a:r>
              <a:rPr lang="en-US" altLang="ko-KR" sz="1800" dirty="0"/>
              <a:t>, Pig, Flume, </a:t>
            </a:r>
            <a:r>
              <a:rPr lang="en-US" altLang="ko-KR" sz="1800" dirty="0" err="1"/>
              <a:t>Sqoop</a:t>
            </a:r>
            <a:r>
              <a:rPr lang="en-US" altLang="ko-KR" sz="1800" dirty="0"/>
              <a:t>)</a:t>
            </a:r>
          </a:p>
          <a:p>
            <a:pPr lvl="1"/>
            <a:r>
              <a:rPr lang="ko-KR" altLang="en-US" sz="1800" dirty="0"/>
              <a:t>클러스터를</a:t>
            </a:r>
            <a:r>
              <a:rPr lang="en-US" altLang="ko-KR" sz="1800" dirty="0"/>
              <a:t> </a:t>
            </a:r>
            <a:r>
              <a:rPr lang="ko-KR" altLang="en-US" sz="1800"/>
              <a:t>관리할 수 있는 운영 서비스 </a:t>
            </a:r>
            <a:r>
              <a:rPr lang="en-US" altLang="ko-KR" sz="1800" dirty="0"/>
              <a:t>(</a:t>
            </a:r>
            <a:r>
              <a:rPr lang="en-US" altLang="ko-KR" sz="1800" dirty="0" err="1"/>
              <a:t>Ambari</a:t>
            </a:r>
            <a:r>
              <a:rPr lang="en-US" altLang="ko-KR" sz="1800" dirty="0"/>
              <a:t>, Falcon, </a:t>
            </a:r>
            <a:r>
              <a:rPr lang="en-US" altLang="ko-KR" sz="1800" dirty="0" err="1"/>
              <a:t>Oozie</a:t>
            </a:r>
            <a:r>
              <a:rPr lang="en-US" altLang="ko-KR" sz="1800" dirty="0"/>
              <a:t>)</a:t>
            </a:r>
          </a:p>
          <a:p>
            <a:endParaRPr lang="ko-KR" altLang="en-US" sz="2800" dirty="0"/>
          </a:p>
        </p:txBody>
      </p:sp>
      <p:grpSp>
        <p:nvGrpSpPr>
          <p:cNvPr id="4" name="Group 65"/>
          <p:cNvGrpSpPr/>
          <p:nvPr/>
        </p:nvGrpSpPr>
        <p:grpSpPr>
          <a:xfrm>
            <a:off x="281532" y="3802490"/>
            <a:ext cx="11781181" cy="2895173"/>
            <a:chOff x="281532" y="3802490"/>
            <a:chExt cx="11781181" cy="2895173"/>
          </a:xfrm>
        </p:grpSpPr>
        <p:sp>
          <p:nvSpPr>
            <p:cNvPr id="5" name="Rectangle 66"/>
            <p:cNvSpPr/>
            <p:nvPr/>
          </p:nvSpPr>
          <p:spPr>
            <a:xfrm>
              <a:off x="281532" y="3802490"/>
              <a:ext cx="11781181" cy="2895173"/>
            </a:xfrm>
            <a:prstGeom prst="rect">
              <a:avLst/>
            </a:prstGeom>
            <a:solidFill>
              <a:srgbClr val="D2D2D2"/>
            </a:solidFill>
            <a:ln w="38100" cap="flat" cmpd="sng" algn="ctr">
              <a:noFill/>
              <a:prstDash val="solid"/>
            </a:ln>
            <a:effectLst/>
          </p:spPr>
          <p:txBody>
            <a:bodyPr rtlCol="0" anchor="t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48590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   </a:t>
              </a:r>
            </a:p>
          </p:txBody>
        </p:sp>
        <p:grpSp>
          <p:nvGrpSpPr>
            <p:cNvPr id="6" name="Group 67"/>
            <p:cNvGrpSpPr/>
            <p:nvPr/>
          </p:nvGrpSpPr>
          <p:grpSpPr>
            <a:xfrm>
              <a:off x="392052" y="3914096"/>
              <a:ext cx="2336858" cy="2671960"/>
              <a:chOff x="417452" y="3963789"/>
              <a:chExt cx="2336858" cy="2671960"/>
            </a:xfrm>
          </p:grpSpPr>
          <p:sp>
            <p:nvSpPr>
              <p:cNvPr id="63" name="Rectangle 133"/>
              <p:cNvSpPr/>
              <p:nvPr/>
            </p:nvSpPr>
            <p:spPr>
              <a:xfrm>
                <a:off x="417452" y="3963789"/>
                <a:ext cx="2336858" cy="369827"/>
              </a:xfrm>
              <a:prstGeom prst="rect">
                <a:avLst/>
              </a:prstGeom>
              <a:solidFill>
                <a:srgbClr val="008272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91440" rIns="0" bIns="9144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Governance and integration</a:t>
                </a:r>
              </a:p>
            </p:txBody>
          </p:sp>
          <p:sp>
            <p:nvSpPr>
              <p:cNvPr id="64" name="Rectangle 134"/>
              <p:cNvSpPr/>
              <p:nvPr/>
            </p:nvSpPr>
            <p:spPr>
              <a:xfrm>
                <a:off x="417452" y="4366378"/>
                <a:ext cx="2336858" cy="2269371"/>
              </a:xfrm>
              <a:prstGeom prst="rect">
                <a:avLst/>
              </a:prstGeom>
              <a:solidFill>
                <a:srgbClr val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91440" rIns="182880" bIns="9144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Data workflow, lifecycle and governance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Falcon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Sqoop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Flume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NFS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WebHDF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</p:grpSp>
        <p:grpSp>
          <p:nvGrpSpPr>
            <p:cNvPr id="7" name="Group 68"/>
            <p:cNvGrpSpPr/>
            <p:nvPr/>
          </p:nvGrpSpPr>
          <p:grpSpPr>
            <a:xfrm>
              <a:off x="2786946" y="3914097"/>
              <a:ext cx="4346142" cy="2671959"/>
              <a:chOff x="2804592" y="3963789"/>
              <a:chExt cx="4346142" cy="2671959"/>
            </a:xfrm>
          </p:grpSpPr>
          <p:sp>
            <p:nvSpPr>
              <p:cNvPr id="15" name="Rectangle 76"/>
              <p:cNvSpPr/>
              <p:nvPr/>
            </p:nvSpPr>
            <p:spPr>
              <a:xfrm>
                <a:off x="2804592" y="5441881"/>
                <a:ext cx="4346141" cy="1193867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91440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 </a:t>
                </a:r>
              </a:p>
            </p:txBody>
          </p:sp>
          <p:sp>
            <p:nvSpPr>
              <p:cNvPr id="16" name="Rectangle 77"/>
              <p:cNvSpPr/>
              <p:nvPr/>
            </p:nvSpPr>
            <p:spPr>
              <a:xfrm>
                <a:off x="2804594" y="4366380"/>
                <a:ext cx="4346140" cy="1035884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91440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7" name="Rectangle 78"/>
              <p:cNvSpPr>
                <a:spLocks/>
              </p:cNvSpPr>
              <p:nvPr/>
            </p:nvSpPr>
            <p:spPr>
              <a:xfrm>
                <a:off x="2893160" y="5169183"/>
                <a:ext cx="4149460" cy="461997"/>
              </a:xfrm>
              <a:prstGeom prst="rect">
                <a:avLst/>
              </a:prstGeom>
              <a:solidFill>
                <a:srgbClr val="008272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82880" tIns="137160" rIns="18288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YARN: data operating system</a:t>
                </a:r>
              </a:p>
            </p:txBody>
          </p:sp>
          <p:sp>
            <p:nvSpPr>
              <p:cNvPr id="18" name="Rounded Rectangle 37"/>
              <p:cNvSpPr>
                <a:spLocks/>
              </p:cNvSpPr>
              <p:nvPr/>
            </p:nvSpPr>
            <p:spPr>
              <a:xfrm>
                <a:off x="3471794" y="4443822"/>
                <a:ext cx="548640" cy="817853"/>
              </a:xfrm>
              <a:custGeom>
                <a:avLst/>
                <a:gdLst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100841"/>
                  <a:gd name="connsiteX1" fmla="*/ 28501 w 494985"/>
                  <a:gd name="connsiteY1" fmla="*/ 0 h 1100841"/>
                  <a:gd name="connsiteX2" fmla="*/ 466484 w 494985"/>
                  <a:gd name="connsiteY2" fmla="*/ 0 h 1100841"/>
                  <a:gd name="connsiteX3" fmla="*/ 494985 w 494985"/>
                  <a:gd name="connsiteY3" fmla="*/ 28501 h 1100841"/>
                  <a:gd name="connsiteX4" fmla="*/ 494985 w 494985"/>
                  <a:gd name="connsiteY4" fmla="*/ 1006985 h 1100841"/>
                  <a:gd name="connsiteX5" fmla="*/ 466484 w 494985"/>
                  <a:gd name="connsiteY5" fmla="*/ 1035486 h 1100841"/>
                  <a:gd name="connsiteX6" fmla="*/ 202850 w 494985"/>
                  <a:gd name="connsiteY6" fmla="*/ 1100839 h 1100841"/>
                  <a:gd name="connsiteX7" fmla="*/ 28501 w 494985"/>
                  <a:gd name="connsiteY7" fmla="*/ 1035486 h 1100841"/>
                  <a:gd name="connsiteX8" fmla="*/ 0 w 494985"/>
                  <a:gd name="connsiteY8" fmla="*/ 1006985 h 1100841"/>
                  <a:gd name="connsiteX9" fmla="*/ 0 w 494985"/>
                  <a:gd name="connsiteY9" fmla="*/ 28501 h 1100841"/>
                  <a:gd name="connsiteX0" fmla="*/ 0 w 494985"/>
                  <a:gd name="connsiteY0" fmla="*/ 28501 h 1122703"/>
                  <a:gd name="connsiteX1" fmla="*/ 28501 w 494985"/>
                  <a:gd name="connsiteY1" fmla="*/ 0 h 1122703"/>
                  <a:gd name="connsiteX2" fmla="*/ 466484 w 494985"/>
                  <a:gd name="connsiteY2" fmla="*/ 0 h 1122703"/>
                  <a:gd name="connsiteX3" fmla="*/ 494985 w 494985"/>
                  <a:gd name="connsiteY3" fmla="*/ 28501 h 1122703"/>
                  <a:gd name="connsiteX4" fmla="*/ 494985 w 494985"/>
                  <a:gd name="connsiteY4" fmla="*/ 1006985 h 1122703"/>
                  <a:gd name="connsiteX5" fmla="*/ 466484 w 494985"/>
                  <a:gd name="connsiteY5" fmla="*/ 1035486 h 1122703"/>
                  <a:gd name="connsiteX6" fmla="*/ 326675 w 494985"/>
                  <a:gd name="connsiteY6" fmla="*/ 1119889 h 1122703"/>
                  <a:gd name="connsiteX7" fmla="*/ 202850 w 494985"/>
                  <a:gd name="connsiteY7" fmla="*/ 1100839 h 1122703"/>
                  <a:gd name="connsiteX8" fmla="*/ 28501 w 494985"/>
                  <a:gd name="connsiteY8" fmla="*/ 1035486 h 1122703"/>
                  <a:gd name="connsiteX9" fmla="*/ 0 w 494985"/>
                  <a:gd name="connsiteY9" fmla="*/ 1006985 h 1122703"/>
                  <a:gd name="connsiteX10" fmla="*/ 0 w 494985"/>
                  <a:gd name="connsiteY10" fmla="*/ 28501 h 1122703"/>
                  <a:gd name="connsiteX0" fmla="*/ 0 w 494985"/>
                  <a:gd name="connsiteY0" fmla="*/ 28501 h 1120138"/>
                  <a:gd name="connsiteX1" fmla="*/ 28501 w 494985"/>
                  <a:gd name="connsiteY1" fmla="*/ 0 h 1120138"/>
                  <a:gd name="connsiteX2" fmla="*/ 466484 w 494985"/>
                  <a:gd name="connsiteY2" fmla="*/ 0 h 1120138"/>
                  <a:gd name="connsiteX3" fmla="*/ 494985 w 494985"/>
                  <a:gd name="connsiteY3" fmla="*/ 28501 h 1120138"/>
                  <a:gd name="connsiteX4" fmla="*/ 494985 w 494985"/>
                  <a:gd name="connsiteY4" fmla="*/ 1006985 h 1120138"/>
                  <a:gd name="connsiteX5" fmla="*/ 466484 w 494985"/>
                  <a:gd name="connsiteY5" fmla="*/ 1035486 h 1120138"/>
                  <a:gd name="connsiteX6" fmla="*/ 364775 w 494985"/>
                  <a:gd name="connsiteY6" fmla="*/ 1062739 h 1120138"/>
                  <a:gd name="connsiteX7" fmla="*/ 326675 w 494985"/>
                  <a:gd name="connsiteY7" fmla="*/ 1119889 h 1120138"/>
                  <a:gd name="connsiteX8" fmla="*/ 202850 w 494985"/>
                  <a:gd name="connsiteY8" fmla="*/ 1100839 h 1120138"/>
                  <a:gd name="connsiteX9" fmla="*/ 28501 w 494985"/>
                  <a:gd name="connsiteY9" fmla="*/ 1035486 h 1120138"/>
                  <a:gd name="connsiteX10" fmla="*/ 0 w 494985"/>
                  <a:gd name="connsiteY10" fmla="*/ 1006985 h 1120138"/>
                  <a:gd name="connsiteX11" fmla="*/ 0 w 494985"/>
                  <a:gd name="connsiteY11" fmla="*/ 28501 h 1120138"/>
                  <a:gd name="connsiteX0" fmla="*/ 0 w 494985"/>
                  <a:gd name="connsiteY0" fmla="*/ 28501 h 1126828"/>
                  <a:gd name="connsiteX1" fmla="*/ 28501 w 494985"/>
                  <a:gd name="connsiteY1" fmla="*/ 0 h 1126828"/>
                  <a:gd name="connsiteX2" fmla="*/ 466484 w 494985"/>
                  <a:gd name="connsiteY2" fmla="*/ 0 h 1126828"/>
                  <a:gd name="connsiteX3" fmla="*/ 494985 w 494985"/>
                  <a:gd name="connsiteY3" fmla="*/ 28501 h 1126828"/>
                  <a:gd name="connsiteX4" fmla="*/ 494985 w 494985"/>
                  <a:gd name="connsiteY4" fmla="*/ 1006985 h 1126828"/>
                  <a:gd name="connsiteX5" fmla="*/ 466484 w 494985"/>
                  <a:gd name="connsiteY5" fmla="*/ 1035486 h 1126828"/>
                  <a:gd name="connsiteX6" fmla="*/ 364775 w 494985"/>
                  <a:gd name="connsiteY6" fmla="*/ 1062739 h 1126828"/>
                  <a:gd name="connsiteX7" fmla="*/ 326675 w 494985"/>
                  <a:gd name="connsiteY7" fmla="*/ 1119889 h 1126828"/>
                  <a:gd name="connsiteX8" fmla="*/ 212375 w 494985"/>
                  <a:gd name="connsiteY8" fmla="*/ 1124651 h 1126828"/>
                  <a:gd name="connsiteX9" fmla="*/ 28501 w 494985"/>
                  <a:gd name="connsiteY9" fmla="*/ 1035486 h 1126828"/>
                  <a:gd name="connsiteX10" fmla="*/ 0 w 494985"/>
                  <a:gd name="connsiteY10" fmla="*/ 1006985 h 1126828"/>
                  <a:gd name="connsiteX11" fmla="*/ 0 w 494985"/>
                  <a:gd name="connsiteY11" fmla="*/ 28501 h 1126828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19930"/>
                  <a:gd name="connsiteX1" fmla="*/ 28501 w 494985"/>
                  <a:gd name="connsiteY1" fmla="*/ 0 h 1119930"/>
                  <a:gd name="connsiteX2" fmla="*/ 466484 w 494985"/>
                  <a:gd name="connsiteY2" fmla="*/ 0 h 1119930"/>
                  <a:gd name="connsiteX3" fmla="*/ 494985 w 494985"/>
                  <a:gd name="connsiteY3" fmla="*/ 28501 h 1119930"/>
                  <a:gd name="connsiteX4" fmla="*/ 494985 w 494985"/>
                  <a:gd name="connsiteY4" fmla="*/ 1006985 h 1119930"/>
                  <a:gd name="connsiteX5" fmla="*/ 466484 w 494985"/>
                  <a:gd name="connsiteY5" fmla="*/ 1035486 h 1119930"/>
                  <a:gd name="connsiteX6" fmla="*/ 364775 w 494985"/>
                  <a:gd name="connsiteY6" fmla="*/ 1062739 h 1119930"/>
                  <a:gd name="connsiteX7" fmla="*/ 326675 w 494985"/>
                  <a:gd name="connsiteY7" fmla="*/ 1119889 h 1119930"/>
                  <a:gd name="connsiteX8" fmla="*/ 150463 w 494985"/>
                  <a:gd name="connsiteY8" fmla="*/ 1053215 h 1119930"/>
                  <a:gd name="connsiteX9" fmla="*/ 28501 w 494985"/>
                  <a:gd name="connsiteY9" fmla="*/ 1035486 h 1119930"/>
                  <a:gd name="connsiteX10" fmla="*/ 0 w 494985"/>
                  <a:gd name="connsiteY10" fmla="*/ 1006985 h 1119930"/>
                  <a:gd name="connsiteX11" fmla="*/ 0 w 494985"/>
                  <a:gd name="connsiteY11" fmla="*/ 28501 h 1119930"/>
                  <a:gd name="connsiteX0" fmla="*/ 0 w 494985"/>
                  <a:gd name="connsiteY0" fmla="*/ 28501 h 1120193"/>
                  <a:gd name="connsiteX1" fmla="*/ 28501 w 494985"/>
                  <a:gd name="connsiteY1" fmla="*/ 0 h 1120193"/>
                  <a:gd name="connsiteX2" fmla="*/ 466484 w 494985"/>
                  <a:gd name="connsiteY2" fmla="*/ 0 h 1120193"/>
                  <a:gd name="connsiteX3" fmla="*/ 494985 w 494985"/>
                  <a:gd name="connsiteY3" fmla="*/ 28501 h 1120193"/>
                  <a:gd name="connsiteX4" fmla="*/ 494985 w 494985"/>
                  <a:gd name="connsiteY4" fmla="*/ 1006985 h 1120193"/>
                  <a:gd name="connsiteX5" fmla="*/ 466484 w 494985"/>
                  <a:gd name="connsiteY5" fmla="*/ 1035486 h 1120193"/>
                  <a:gd name="connsiteX6" fmla="*/ 364775 w 494985"/>
                  <a:gd name="connsiteY6" fmla="*/ 1062739 h 1120193"/>
                  <a:gd name="connsiteX7" fmla="*/ 326675 w 494985"/>
                  <a:gd name="connsiteY7" fmla="*/ 1119889 h 1120193"/>
                  <a:gd name="connsiteX8" fmla="*/ 28501 w 494985"/>
                  <a:gd name="connsiteY8" fmla="*/ 1035486 h 1120193"/>
                  <a:gd name="connsiteX9" fmla="*/ 0 w 494985"/>
                  <a:gd name="connsiteY9" fmla="*/ 1006985 h 1120193"/>
                  <a:gd name="connsiteX10" fmla="*/ 0 w 494985"/>
                  <a:gd name="connsiteY10" fmla="*/ 28501 h 1120193"/>
                  <a:gd name="connsiteX0" fmla="*/ 0 w 494985"/>
                  <a:gd name="connsiteY0" fmla="*/ 28501 h 1062739"/>
                  <a:gd name="connsiteX1" fmla="*/ 28501 w 494985"/>
                  <a:gd name="connsiteY1" fmla="*/ 0 h 1062739"/>
                  <a:gd name="connsiteX2" fmla="*/ 466484 w 494985"/>
                  <a:gd name="connsiteY2" fmla="*/ 0 h 1062739"/>
                  <a:gd name="connsiteX3" fmla="*/ 494985 w 494985"/>
                  <a:gd name="connsiteY3" fmla="*/ 28501 h 1062739"/>
                  <a:gd name="connsiteX4" fmla="*/ 494985 w 494985"/>
                  <a:gd name="connsiteY4" fmla="*/ 1006985 h 1062739"/>
                  <a:gd name="connsiteX5" fmla="*/ 466484 w 494985"/>
                  <a:gd name="connsiteY5" fmla="*/ 1035486 h 1062739"/>
                  <a:gd name="connsiteX6" fmla="*/ 364775 w 494985"/>
                  <a:gd name="connsiteY6" fmla="*/ 1062739 h 1062739"/>
                  <a:gd name="connsiteX7" fmla="*/ 28501 w 494985"/>
                  <a:gd name="connsiteY7" fmla="*/ 1035486 h 1062739"/>
                  <a:gd name="connsiteX8" fmla="*/ 0 w 494985"/>
                  <a:gd name="connsiteY8" fmla="*/ 1006985 h 1062739"/>
                  <a:gd name="connsiteX9" fmla="*/ 0 w 494985"/>
                  <a:gd name="connsiteY9" fmla="*/ 28501 h 1062739"/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038340"/>
                  <a:gd name="connsiteX1" fmla="*/ 28501 w 494985"/>
                  <a:gd name="connsiteY1" fmla="*/ 0 h 1038340"/>
                  <a:gd name="connsiteX2" fmla="*/ 466484 w 494985"/>
                  <a:gd name="connsiteY2" fmla="*/ 0 h 1038340"/>
                  <a:gd name="connsiteX3" fmla="*/ 494985 w 494985"/>
                  <a:gd name="connsiteY3" fmla="*/ 28501 h 1038340"/>
                  <a:gd name="connsiteX4" fmla="*/ 494985 w 494985"/>
                  <a:gd name="connsiteY4" fmla="*/ 1006985 h 1038340"/>
                  <a:gd name="connsiteX5" fmla="*/ 466484 w 494985"/>
                  <a:gd name="connsiteY5" fmla="*/ 1035486 h 1038340"/>
                  <a:gd name="connsiteX6" fmla="*/ 153637 w 494985"/>
                  <a:gd name="connsiteY6" fmla="*/ 1037339 h 1038340"/>
                  <a:gd name="connsiteX7" fmla="*/ 28501 w 494985"/>
                  <a:gd name="connsiteY7" fmla="*/ 1035486 h 1038340"/>
                  <a:gd name="connsiteX8" fmla="*/ 0 w 494985"/>
                  <a:gd name="connsiteY8" fmla="*/ 1006985 h 1038340"/>
                  <a:gd name="connsiteX9" fmla="*/ 0 w 494985"/>
                  <a:gd name="connsiteY9" fmla="*/ 28501 h 1038340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274287 w 494985"/>
                  <a:gd name="connsiteY6" fmla="*/ 1037339 h 1038241"/>
                  <a:gd name="connsiteX7" fmla="*/ 153637 w 494985"/>
                  <a:gd name="connsiteY7" fmla="*/ 1037339 h 1038241"/>
                  <a:gd name="connsiteX8" fmla="*/ 28501 w 494985"/>
                  <a:gd name="connsiteY8" fmla="*/ 1035486 h 1038241"/>
                  <a:gd name="connsiteX9" fmla="*/ 0 w 494985"/>
                  <a:gd name="connsiteY9" fmla="*/ 1006985 h 1038241"/>
                  <a:gd name="connsiteX10" fmla="*/ 0 w 494985"/>
                  <a:gd name="connsiteY10" fmla="*/ 28501 h 1038241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369537 w 494985"/>
                  <a:gd name="connsiteY6" fmla="*/ 1030990 h 1038241"/>
                  <a:gd name="connsiteX7" fmla="*/ 274287 w 494985"/>
                  <a:gd name="connsiteY7" fmla="*/ 1037339 h 1038241"/>
                  <a:gd name="connsiteX8" fmla="*/ 153637 w 494985"/>
                  <a:gd name="connsiteY8" fmla="*/ 1037339 h 1038241"/>
                  <a:gd name="connsiteX9" fmla="*/ 28501 w 494985"/>
                  <a:gd name="connsiteY9" fmla="*/ 1035486 h 1038241"/>
                  <a:gd name="connsiteX10" fmla="*/ 0 w 494985"/>
                  <a:gd name="connsiteY10" fmla="*/ 1006985 h 1038241"/>
                  <a:gd name="connsiteX11" fmla="*/ 0 w 494985"/>
                  <a:gd name="connsiteY11" fmla="*/ 28501 h 1038241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0373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1008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7605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0461 w 494985"/>
                  <a:gd name="connsiteY8" fmla="*/ 1040514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57"/>
                  <a:gd name="connsiteX1" fmla="*/ 28501 w 494985"/>
                  <a:gd name="connsiteY1" fmla="*/ 0 h 1100857"/>
                  <a:gd name="connsiteX2" fmla="*/ 466484 w 494985"/>
                  <a:gd name="connsiteY2" fmla="*/ 0 h 1100857"/>
                  <a:gd name="connsiteX3" fmla="*/ 494985 w 494985"/>
                  <a:gd name="connsiteY3" fmla="*/ 28501 h 1100857"/>
                  <a:gd name="connsiteX4" fmla="*/ 494985 w 494985"/>
                  <a:gd name="connsiteY4" fmla="*/ 1006985 h 1100857"/>
                  <a:gd name="connsiteX5" fmla="*/ 466484 w 494985"/>
                  <a:gd name="connsiteY5" fmla="*/ 1035486 h 1100857"/>
                  <a:gd name="connsiteX6" fmla="*/ 369537 w 494985"/>
                  <a:gd name="connsiteY6" fmla="*/ 1030990 h 1100857"/>
                  <a:gd name="connsiteX7" fmla="*/ 198087 w 494985"/>
                  <a:gd name="connsiteY7" fmla="*/ 1100839 h 1100857"/>
                  <a:gd name="connsiteX8" fmla="*/ 148080 w 494985"/>
                  <a:gd name="connsiteY8" fmla="*/ 1033370 h 1100857"/>
                  <a:gd name="connsiteX9" fmla="*/ 28501 w 494985"/>
                  <a:gd name="connsiteY9" fmla="*/ 1035486 h 1100857"/>
                  <a:gd name="connsiteX10" fmla="*/ 0 w 494985"/>
                  <a:gd name="connsiteY10" fmla="*/ 1006985 h 1100857"/>
                  <a:gd name="connsiteX11" fmla="*/ 0 w 494985"/>
                  <a:gd name="connsiteY11" fmla="*/ 28501 h 1100857"/>
                  <a:gd name="connsiteX0" fmla="*/ 0 w 494985"/>
                  <a:gd name="connsiteY0" fmla="*/ 28501 h 1101187"/>
                  <a:gd name="connsiteX1" fmla="*/ 28501 w 494985"/>
                  <a:gd name="connsiteY1" fmla="*/ 0 h 1101187"/>
                  <a:gd name="connsiteX2" fmla="*/ 466484 w 494985"/>
                  <a:gd name="connsiteY2" fmla="*/ 0 h 1101187"/>
                  <a:gd name="connsiteX3" fmla="*/ 494985 w 494985"/>
                  <a:gd name="connsiteY3" fmla="*/ 28501 h 1101187"/>
                  <a:gd name="connsiteX4" fmla="*/ 494985 w 494985"/>
                  <a:gd name="connsiteY4" fmla="*/ 1006985 h 1101187"/>
                  <a:gd name="connsiteX5" fmla="*/ 466484 w 494985"/>
                  <a:gd name="connsiteY5" fmla="*/ 1035486 h 1101187"/>
                  <a:gd name="connsiteX6" fmla="*/ 369537 w 494985"/>
                  <a:gd name="connsiteY6" fmla="*/ 1030990 h 1101187"/>
                  <a:gd name="connsiteX7" fmla="*/ 198087 w 494985"/>
                  <a:gd name="connsiteY7" fmla="*/ 1100839 h 1101187"/>
                  <a:gd name="connsiteX8" fmla="*/ 148080 w 494985"/>
                  <a:gd name="connsiteY8" fmla="*/ 1033370 h 1101187"/>
                  <a:gd name="connsiteX9" fmla="*/ 28501 w 494985"/>
                  <a:gd name="connsiteY9" fmla="*/ 1035486 h 1101187"/>
                  <a:gd name="connsiteX10" fmla="*/ 0 w 494985"/>
                  <a:gd name="connsiteY10" fmla="*/ 1006985 h 1101187"/>
                  <a:gd name="connsiteX11" fmla="*/ 0 w 494985"/>
                  <a:gd name="connsiteY11" fmla="*/ 28501 h 1101187"/>
                  <a:gd name="connsiteX0" fmla="*/ 0 w 494985"/>
                  <a:gd name="connsiteY0" fmla="*/ 28501 h 1101096"/>
                  <a:gd name="connsiteX1" fmla="*/ 28501 w 494985"/>
                  <a:gd name="connsiteY1" fmla="*/ 0 h 1101096"/>
                  <a:gd name="connsiteX2" fmla="*/ 466484 w 494985"/>
                  <a:gd name="connsiteY2" fmla="*/ 0 h 1101096"/>
                  <a:gd name="connsiteX3" fmla="*/ 494985 w 494985"/>
                  <a:gd name="connsiteY3" fmla="*/ 28501 h 1101096"/>
                  <a:gd name="connsiteX4" fmla="*/ 494985 w 494985"/>
                  <a:gd name="connsiteY4" fmla="*/ 1006985 h 1101096"/>
                  <a:gd name="connsiteX5" fmla="*/ 466484 w 494985"/>
                  <a:gd name="connsiteY5" fmla="*/ 1035486 h 1101096"/>
                  <a:gd name="connsiteX6" fmla="*/ 369537 w 494985"/>
                  <a:gd name="connsiteY6" fmla="*/ 1030990 h 1101096"/>
                  <a:gd name="connsiteX7" fmla="*/ 290956 w 494985"/>
                  <a:gd name="connsiteY7" fmla="*/ 1055596 h 1101096"/>
                  <a:gd name="connsiteX8" fmla="*/ 198087 w 494985"/>
                  <a:gd name="connsiteY8" fmla="*/ 1100839 h 1101096"/>
                  <a:gd name="connsiteX9" fmla="*/ 148080 w 494985"/>
                  <a:gd name="connsiteY9" fmla="*/ 1033370 h 1101096"/>
                  <a:gd name="connsiteX10" fmla="*/ 28501 w 494985"/>
                  <a:gd name="connsiteY10" fmla="*/ 1035486 h 1101096"/>
                  <a:gd name="connsiteX11" fmla="*/ 0 w 494985"/>
                  <a:gd name="connsiteY11" fmla="*/ 1006985 h 1101096"/>
                  <a:gd name="connsiteX12" fmla="*/ 0 w 494985"/>
                  <a:gd name="connsiteY12" fmla="*/ 28501 h 1101096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6321"/>
                  <a:gd name="connsiteX1" fmla="*/ 28501 w 494985"/>
                  <a:gd name="connsiteY1" fmla="*/ 0 h 1106321"/>
                  <a:gd name="connsiteX2" fmla="*/ 466484 w 494985"/>
                  <a:gd name="connsiteY2" fmla="*/ 0 h 1106321"/>
                  <a:gd name="connsiteX3" fmla="*/ 494985 w 494985"/>
                  <a:gd name="connsiteY3" fmla="*/ 28501 h 1106321"/>
                  <a:gd name="connsiteX4" fmla="*/ 494985 w 494985"/>
                  <a:gd name="connsiteY4" fmla="*/ 1006985 h 1106321"/>
                  <a:gd name="connsiteX5" fmla="*/ 466484 w 494985"/>
                  <a:gd name="connsiteY5" fmla="*/ 1035486 h 1106321"/>
                  <a:gd name="connsiteX6" fmla="*/ 371918 w 494985"/>
                  <a:gd name="connsiteY6" fmla="*/ 1041471 h 1106321"/>
                  <a:gd name="connsiteX7" fmla="*/ 305243 w 494985"/>
                  <a:gd name="connsiteY7" fmla="*/ 1106317 h 1106321"/>
                  <a:gd name="connsiteX8" fmla="*/ 198087 w 494985"/>
                  <a:gd name="connsiteY8" fmla="*/ 1100839 h 1106321"/>
                  <a:gd name="connsiteX9" fmla="*/ 150462 w 494985"/>
                  <a:gd name="connsiteY9" fmla="*/ 1038611 h 1106321"/>
                  <a:gd name="connsiteX10" fmla="*/ 28501 w 494985"/>
                  <a:gd name="connsiteY10" fmla="*/ 1035486 h 1106321"/>
                  <a:gd name="connsiteX11" fmla="*/ 0 w 494985"/>
                  <a:gd name="connsiteY11" fmla="*/ 1006985 h 1106321"/>
                  <a:gd name="connsiteX12" fmla="*/ 0 w 494985"/>
                  <a:gd name="connsiteY12" fmla="*/ 28501 h 1106321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0462 w 494985"/>
                  <a:gd name="connsiteY9" fmla="*/ 103861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79037 w 494985"/>
                  <a:gd name="connsiteY9" fmla="*/ 10359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153278 w 494985"/>
                  <a:gd name="connsiteY10" fmla="*/ 1037850 h 1102488"/>
                  <a:gd name="connsiteX11" fmla="*/ 28501 w 494985"/>
                  <a:gd name="connsiteY11" fmla="*/ 1035486 h 1102488"/>
                  <a:gd name="connsiteX12" fmla="*/ 0 w 494985"/>
                  <a:gd name="connsiteY12" fmla="*/ 1006985 h 1102488"/>
                  <a:gd name="connsiteX13" fmla="*/ 0 w 494985"/>
                  <a:gd name="connsiteY13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3278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3654"/>
                  <a:gd name="connsiteX1" fmla="*/ 28501 w 494985"/>
                  <a:gd name="connsiteY1" fmla="*/ 0 h 1103654"/>
                  <a:gd name="connsiteX2" fmla="*/ 466484 w 494985"/>
                  <a:gd name="connsiteY2" fmla="*/ 0 h 1103654"/>
                  <a:gd name="connsiteX3" fmla="*/ 494985 w 494985"/>
                  <a:gd name="connsiteY3" fmla="*/ 28501 h 1103654"/>
                  <a:gd name="connsiteX4" fmla="*/ 494985 w 494985"/>
                  <a:gd name="connsiteY4" fmla="*/ 1006985 h 1103654"/>
                  <a:gd name="connsiteX5" fmla="*/ 466484 w 494985"/>
                  <a:gd name="connsiteY5" fmla="*/ 1035486 h 1103654"/>
                  <a:gd name="connsiteX6" fmla="*/ 371918 w 494985"/>
                  <a:gd name="connsiteY6" fmla="*/ 1041471 h 1103654"/>
                  <a:gd name="connsiteX7" fmla="*/ 307624 w 494985"/>
                  <a:gd name="connsiteY7" fmla="*/ 1101077 h 1103654"/>
                  <a:gd name="connsiteX8" fmla="*/ 198087 w 494985"/>
                  <a:gd name="connsiteY8" fmla="*/ 1100839 h 1103654"/>
                  <a:gd name="connsiteX9" fmla="*/ 136609 w 494985"/>
                  <a:gd name="connsiteY9" fmla="*/ 1037850 h 1103654"/>
                  <a:gd name="connsiteX10" fmla="*/ 28501 w 494985"/>
                  <a:gd name="connsiteY10" fmla="*/ 1035486 h 1103654"/>
                  <a:gd name="connsiteX11" fmla="*/ 0 w 494985"/>
                  <a:gd name="connsiteY11" fmla="*/ 1006985 h 1103654"/>
                  <a:gd name="connsiteX12" fmla="*/ 0 w 494985"/>
                  <a:gd name="connsiteY12" fmla="*/ 28501 h 1103654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6240"/>
                  <a:gd name="connsiteX1" fmla="*/ 28501 w 494985"/>
                  <a:gd name="connsiteY1" fmla="*/ 0 h 1106240"/>
                  <a:gd name="connsiteX2" fmla="*/ 466484 w 494985"/>
                  <a:gd name="connsiteY2" fmla="*/ 0 h 1106240"/>
                  <a:gd name="connsiteX3" fmla="*/ 494985 w 494985"/>
                  <a:gd name="connsiteY3" fmla="*/ 28501 h 1106240"/>
                  <a:gd name="connsiteX4" fmla="*/ 494985 w 494985"/>
                  <a:gd name="connsiteY4" fmla="*/ 1006985 h 1106240"/>
                  <a:gd name="connsiteX5" fmla="*/ 466484 w 494985"/>
                  <a:gd name="connsiteY5" fmla="*/ 1035486 h 1106240"/>
                  <a:gd name="connsiteX6" fmla="*/ 369537 w 494985"/>
                  <a:gd name="connsiteY6" fmla="*/ 1033611 h 1106240"/>
                  <a:gd name="connsiteX7" fmla="*/ 307624 w 494985"/>
                  <a:gd name="connsiteY7" fmla="*/ 1101077 h 1106240"/>
                  <a:gd name="connsiteX8" fmla="*/ 198087 w 494985"/>
                  <a:gd name="connsiteY8" fmla="*/ 1100839 h 1106240"/>
                  <a:gd name="connsiteX9" fmla="*/ 158041 w 494985"/>
                  <a:gd name="connsiteY9" fmla="*/ 1035229 h 1106240"/>
                  <a:gd name="connsiteX10" fmla="*/ 28501 w 494985"/>
                  <a:gd name="connsiteY10" fmla="*/ 1035486 h 1106240"/>
                  <a:gd name="connsiteX11" fmla="*/ 0 w 494985"/>
                  <a:gd name="connsiteY11" fmla="*/ 1006985 h 1106240"/>
                  <a:gd name="connsiteX12" fmla="*/ 0 w 494985"/>
                  <a:gd name="connsiteY12" fmla="*/ 28501 h 1106240"/>
                  <a:gd name="connsiteX0" fmla="*/ 0 w 494985"/>
                  <a:gd name="connsiteY0" fmla="*/ 28501 h 1105659"/>
                  <a:gd name="connsiteX1" fmla="*/ 28501 w 494985"/>
                  <a:gd name="connsiteY1" fmla="*/ 0 h 1105659"/>
                  <a:gd name="connsiteX2" fmla="*/ 466484 w 494985"/>
                  <a:gd name="connsiteY2" fmla="*/ 0 h 1105659"/>
                  <a:gd name="connsiteX3" fmla="*/ 494985 w 494985"/>
                  <a:gd name="connsiteY3" fmla="*/ 28501 h 1105659"/>
                  <a:gd name="connsiteX4" fmla="*/ 494985 w 494985"/>
                  <a:gd name="connsiteY4" fmla="*/ 1006985 h 1105659"/>
                  <a:gd name="connsiteX5" fmla="*/ 466484 w 494985"/>
                  <a:gd name="connsiteY5" fmla="*/ 1035486 h 1105659"/>
                  <a:gd name="connsiteX6" fmla="*/ 371918 w 494985"/>
                  <a:gd name="connsiteY6" fmla="*/ 1041470 h 1105659"/>
                  <a:gd name="connsiteX7" fmla="*/ 307624 w 494985"/>
                  <a:gd name="connsiteY7" fmla="*/ 1101077 h 1105659"/>
                  <a:gd name="connsiteX8" fmla="*/ 198087 w 494985"/>
                  <a:gd name="connsiteY8" fmla="*/ 1100839 h 1105659"/>
                  <a:gd name="connsiteX9" fmla="*/ 158041 w 494985"/>
                  <a:gd name="connsiteY9" fmla="*/ 1035229 h 1105659"/>
                  <a:gd name="connsiteX10" fmla="*/ 28501 w 494985"/>
                  <a:gd name="connsiteY10" fmla="*/ 1035486 h 1105659"/>
                  <a:gd name="connsiteX11" fmla="*/ 0 w 494985"/>
                  <a:gd name="connsiteY11" fmla="*/ 1006985 h 1105659"/>
                  <a:gd name="connsiteX12" fmla="*/ 0 w 494985"/>
                  <a:gd name="connsiteY12" fmla="*/ 28501 h 1105659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4264"/>
                  <a:gd name="connsiteX1" fmla="*/ 28501 w 494985"/>
                  <a:gd name="connsiteY1" fmla="*/ 0 h 1104264"/>
                  <a:gd name="connsiteX2" fmla="*/ 466484 w 494985"/>
                  <a:gd name="connsiteY2" fmla="*/ 0 h 1104264"/>
                  <a:gd name="connsiteX3" fmla="*/ 494985 w 494985"/>
                  <a:gd name="connsiteY3" fmla="*/ 28501 h 1104264"/>
                  <a:gd name="connsiteX4" fmla="*/ 494985 w 494985"/>
                  <a:gd name="connsiteY4" fmla="*/ 1006985 h 1104264"/>
                  <a:gd name="connsiteX5" fmla="*/ 466484 w 494985"/>
                  <a:gd name="connsiteY5" fmla="*/ 1035486 h 1104264"/>
                  <a:gd name="connsiteX6" fmla="*/ 364775 w 494985"/>
                  <a:gd name="connsiteY6" fmla="*/ 1036230 h 1104264"/>
                  <a:gd name="connsiteX7" fmla="*/ 312387 w 494985"/>
                  <a:gd name="connsiteY7" fmla="*/ 1098457 h 1104264"/>
                  <a:gd name="connsiteX8" fmla="*/ 198087 w 494985"/>
                  <a:gd name="connsiteY8" fmla="*/ 1100839 h 1104264"/>
                  <a:gd name="connsiteX9" fmla="*/ 158041 w 494985"/>
                  <a:gd name="connsiteY9" fmla="*/ 1035229 h 1104264"/>
                  <a:gd name="connsiteX10" fmla="*/ 28501 w 494985"/>
                  <a:gd name="connsiteY10" fmla="*/ 1035486 h 1104264"/>
                  <a:gd name="connsiteX11" fmla="*/ 0 w 494985"/>
                  <a:gd name="connsiteY11" fmla="*/ 1006985 h 1104264"/>
                  <a:gd name="connsiteX12" fmla="*/ 0 w 494985"/>
                  <a:gd name="connsiteY12" fmla="*/ 28501 h 1104264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312387 w 494985"/>
                  <a:gd name="connsiteY7" fmla="*/ 1098457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198087 w 494985"/>
                  <a:gd name="connsiteY7" fmla="*/ 1100839 h 1100839"/>
                  <a:gd name="connsiteX8" fmla="*/ 158041 w 494985"/>
                  <a:gd name="connsiteY8" fmla="*/ 1035229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289009 w 494985"/>
                  <a:gd name="connsiteY7" fmla="*/ 1064051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64775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52869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40962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13832"/>
                  <a:gd name="connsiteX1" fmla="*/ 28501 w 494985"/>
                  <a:gd name="connsiteY1" fmla="*/ 0 h 1113832"/>
                  <a:gd name="connsiteX2" fmla="*/ 466484 w 494985"/>
                  <a:gd name="connsiteY2" fmla="*/ 0 h 1113832"/>
                  <a:gd name="connsiteX3" fmla="*/ 494985 w 494985"/>
                  <a:gd name="connsiteY3" fmla="*/ 28501 h 1113832"/>
                  <a:gd name="connsiteX4" fmla="*/ 494985 w 494985"/>
                  <a:gd name="connsiteY4" fmla="*/ 1006985 h 1113832"/>
                  <a:gd name="connsiteX5" fmla="*/ 466484 w 494985"/>
                  <a:gd name="connsiteY5" fmla="*/ 1035486 h 1113832"/>
                  <a:gd name="connsiteX6" fmla="*/ 340962 w 494985"/>
                  <a:gd name="connsiteY6" fmla="*/ 1036230 h 1113832"/>
                  <a:gd name="connsiteX7" fmla="*/ 293772 w 494985"/>
                  <a:gd name="connsiteY7" fmla="*/ 1113832 h 1113832"/>
                  <a:gd name="connsiteX8" fmla="*/ 200469 w 494985"/>
                  <a:gd name="connsiteY8" fmla="*/ 1108699 h 1113832"/>
                  <a:gd name="connsiteX9" fmla="*/ 158041 w 494985"/>
                  <a:gd name="connsiteY9" fmla="*/ 1035229 h 1113832"/>
                  <a:gd name="connsiteX10" fmla="*/ 28501 w 494985"/>
                  <a:gd name="connsiteY10" fmla="*/ 1035486 h 1113832"/>
                  <a:gd name="connsiteX11" fmla="*/ 0 w 494985"/>
                  <a:gd name="connsiteY11" fmla="*/ 1006985 h 1113832"/>
                  <a:gd name="connsiteX12" fmla="*/ 0 w 494985"/>
                  <a:gd name="connsiteY12" fmla="*/ 28501 h 111383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305679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4985" h="1108699">
                    <a:moveTo>
                      <a:pt x="0" y="28501"/>
                    </a:moveTo>
                    <a:cubicBezTo>
                      <a:pt x="0" y="12760"/>
                      <a:pt x="12760" y="0"/>
                      <a:pt x="28501" y="0"/>
                    </a:cubicBezTo>
                    <a:lnTo>
                      <a:pt x="466484" y="0"/>
                    </a:lnTo>
                    <a:cubicBezTo>
                      <a:pt x="482225" y="0"/>
                      <a:pt x="494985" y="12760"/>
                      <a:pt x="494985" y="28501"/>
                    </a:cubicBezTo>
                    <a:lnTo>
                      <a:pt x="494985" y="1006985"/>
                    </a:lnTo>
                    <a:cubicBezTo>
                      <a:pt x="494985" y="1022726"/>
                      <a:pt x="482225" y="1035486"/>
                      <a:pt x="466484" y="1035486"/>
                    </a:cubicBezTo>
                    <a:lnTo>
                      <a:pt x="340962" y="1036230"/>
                    </a:lnTo>
                    <a:lnTo>
                      <a:pt x="305679" y="1108591"/>
                    </a:lnTo>
                    <a:lnTo>
                      <a:pt x="186182" y="1108699"/>
                    </a:lnTo>
                    <a:lnTo>
                      <a:pt x="158041" y="1035229"/>
                    </a:lnTo>
                    <a:lnTo>
                      <a:pt x="28501" y="1035486"/>
                    </a:lnTo>
                    <a:cubicBezTo>
                      <a:pt x="12760" y="1035486"/>
                      <a:pt x="0" y="1022726"/>
                      <a:pt x="0" y="1006985"/>
                    </a:cubicBezTo>
                    <a:lnTo>
                      <a:pt x="0" y="28501"/>
                    </a:lnTo>
                    <a:close/>
                  </a:path>
                </a:pathLst>
              </a:custGeom>
              <a:solidFill>
                <a:srgbClr val="00827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8288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Script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/>
                </a:r>
                <a:b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</a:b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Pig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  <p:sp>
            <p:nvSpPr>
              <p:cNvPr id="19" name="Rounded Rectangle 37"/>
              <p:cNvSpPr>
                <a:spLocks/>
              </p:cNvSpPr>
              <p:nvPr/>
            </p:nvSpPr>
            <p:spPr>
              <a:xfrm>
                <a:off x="5786335" y="4443822"/>
                <a:ext cx="548640" cy="817853"/>
              </a:xfrm>
              <a:custGeom>
                <a:avLst/>
                <a:gdLst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100841"/>
                  <a:gd name="connsiteX1" fmla="*/ 28501 w 494985"/>
                  <a:gd name="connsiteY1" fmla="*/ 0 h 1100841"/>
                  <a:gd name="connsiteX2" fmla="*/ 466484 w 494985"/>
                  <a:gd name="connsiteY2" fmla="*/ 0 h 1100841"/>
                  <a:gd name="connsiteX3" fmla="*/ 494985 w 494985"/>
                  <a:gd name="connsiteY3" fmla="*/ 28501 h 1100841"/>
                  <a:gd name="connsiteX4" fmla="*/ 494985 w 494985"/>
                  <a:gd name="connsiteY4" fmla="*/ 1006985 h 1100841"/>
                  <a:gd name="connsiteX5" fmla="*/ 466484 w 494985"/>
                  <a:gd name="connsiteY5" fmla="*/ 1035486 h 1100841"/>
                  <a:gd name="connsiteX6" fmla="*/ 202850 w 494985"/>
                  <a:gd name="connsiteY6" fmla="*/ 1100839 h 1100841"/>
                  <a:gd name="connsiteX7" fmla="*/ 28501 w 494985"/>
                  <a:gd name="connsiteY7" fmla="*/ 1035486 h 1100841"/>
                  <a:gd name="connsiteX8" fmla="*/ 0 w 494985"/>
                  <a:gd name="connsiteY8" fmla="*/ 1006985 h 1100841"/>
                  <a:gd name="connsiteX9" fmla="*/ 0 w 494985"/>
                  <a:gd name="connsiteY9" fmla="*/ 28501 h 1100841"/>
                  <a:gd name="connsiteX0" fmla="*/ 0 w 494985"/>
                  <a:gd name="connsiteY0" fmla="*/ 28501 h 1122703"/>
                  <a:gd name="connsiteX1" fmla="*/ 28501 w 494985"/>
                  <a:gd name="connsiteY1" fmla="*/ 0 h 1122703"/>
                  <a:gd name="connsiteX2" fmla="*/ 466484 w 494985"/>
                  <a:gd name="connsiteY2" fmla="*/ 0 h 1122703"/>
                  <a:gd name="connsiteX3" fmla="*/ 494985 w 494985"/>
                  <a:gd name="connsiteY3" fmla="*/ 28501 h 1122703"/>
                  <a:gd name="connsiteX4" fmla="*/ 494985 w 494985"/>
                  <a:gd name="connsiteY4" fmla="*/ 1006985 h 1122703"/>
                  <a:gd name="connsiteX5" fmla="*/ 466484 w 494985"/>
                  <a:gd name="connsiteY5" fmla="*/ 1035486 h 1122703"/>
                  <a:gd name="connsiteX6" fmla="*/ 326675 w 494985"/>
                  <a:gd name="connsiteY6" fmla="*/ 1119889 h 1122703"/>
                  <a:gd name="connsiteX7" fmla="*/ 202850 w 494985"/>
                  <a:gd name="connsiteY7" fmla="*/ 1100839 h 1122703"/>
                  <a:gd name="connsiteX8" fmla="*/ 28501 w 494985"/>
                  <a:gd name="connsiteY8" fmla="*/ 1035486 h 1122703"/>
                  <a:gd name="connsiteX9" fmla="*/ 0 w 494985"/>
                  <a:gd name="connsiteY9" fmla="*/ 1006985 h 1122703"/>
                  <a:gd name="connsiteX10" fmla="*/ 0 w 494985"/>
                  <a:gd name="connsiteY10" fmla="*/ 28501 h 1122703"/>
                  <a:gd name="connsiteX0" fmla="*/ 0 w 494985"/>
                  <a:gd name="connsiteY0" fmla="*/ 28501 h 1120138"/>
                  <a:gd name="connsiteX1" fmla="*/ 28501 w 494985"/>
                  <a:gd name="connsiteY1" fmla="*/ 0 h 1120138"/>
                  <a:gd name="connsiteX2" fmla="*/ 466484 w 494985"/>
                  <a:gd name="connsiteY2" fmla="*/ 0 h 1120138"/>
                  <a:gd name="connsiteX3" fmla="*/ 494985 w 494985"/>
                  <a:gd name="connsiteY3" fmla="*/ 28501 h 1120138"/>
                  <a:gd name="connsiteX4" fmla="*/ 494985 w 494985"/>
                  <a:gd name="connsiteY4" fmla="*/ 1006985 h 1120138"/>
                  <a:gd name="connsiteX5" fmla="*/ 466484 w 494985"/>
                  <a:gd name="connsiteY5" fmla="*/ 1035486 h 1120138"/>
                  <a:gd name="connsiteX6" fmla="*/ 364775 w 494985"/>
                  <a:gd name="connsiteY6" fmla="*/ 1062739 h 1120138"/>
                  <a:gd name="connsiteX7" fmla="*/ 326675 w 494985"/>
                  <a:gd name="connsiteY7" fmla="*/ 1119889 h 1120138"/>
                  <a:gd name="connsiteX8" fmla="*/ 202850 w 494985"/>
                  <a:gd name="connsiteY8" fmla="*/ 1100839 h 1120138"/>
                  <a:gd name="connsiteX9" fmla="*/ 28501 w 494985"/>
                  <a:gd name="connsiteY9" fmla="*/ 1035486 h 1120138"/>
                  <a:gd name="connsiteX10" fmla="*/ 0 w 494985"/>
                  <a:gd name="connsiteY10" fmla="*/ 1006985 h 1120138"/>
                  <a:gd name="connsiteX11" fmla="*/ 0 w 494985"/>
                  <a:gd name="connsiteY11" fmla="*/ 28501 h 1120138"/>
                  <a:gd name="connsiteX0" fmla="*/ 0 w 494985"/>
                  <a:gd name="connsiteY0" fmla="*/ 28501 h 1126828"/>
                  <a:gd name="connsiteX1" fmla="*/ 28501 w 494985"/>
                  <a:gd name="connsiteY1" fmla="*/ 0 h 1126828"/>
                  <a:gd name="connsiteX2" fmla="*/ 466484 w 494985"/>
                  <a:gd name="connsiteY2" fmla="*/ 0 h 1126828"/>
                  <a:gd name="connsiteX3" fmla="*/ 494985 w 494985"/>
                  <a:gd name="connsiteY3" fmla="*/ 28501 h 1126828"/>
                  <a:gd name="connsiteX4" fmla="*/ 494985 w 494985"/>
                  <a:gd name="connsiteY4" fmla="*/ 1006985 h 1126828"/>
                  <a:gd name="connsiteX5" fmla="*/ 466484 w 494985"/>
                  <a:gd name="connsiteY5" fmla="*/ 1035486 h 1126828"/>
                  <a:gd name="connsiteX6" fmla="*/ 364775 w 494985"/>
                  <a:gd name="connsiteY6" fmla="*/ 1062739 h 1126828"/>
                  <a:gd name="connsiteX7" fmla="*/ 326675 w 494985"/>
                  <a:gd name="connsiteY7" fmla="*/ 1119889 h 1126828"/>
                  <a:gd name="connsiteX8" fmla="*/ 212375 w 494985"/>
                  <a:gd name="connsiteY8" fmla="*/ 1124651 h 1126828"/>
                  <a:gd name="connsiteX9" fmla="*/ 28501 w 494985"/>
                  <a:gd name="connsiteY9" fmla="*/ 1035486 h 1126828"/>
                  <a:gd name="connsiteX10" fmla="*/ 0 w 494985"/>
                  <a:gd name="connsiteY10" fmla="*/ 1006985 h 1126828"/>
                  <a:gd name="connsiteX11" fmla="*/ 0 w 494985"/>
                  <a:gd name="connsiteY11" fmla="*/ 28501 h 1126828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19930"/>
                  <a:gd name="connsiteX1" fmla="*/ 28501 w 494985"/>
                  <a:gd name="connsiteY1" fmla="*/ 0 h 1119930"/>
                  <a:gd name="connsiteX2" fmla="*/ 466484 w 494985"/>
                  <a:gd name="connsiteY2" fmla="*/ 0 h 1119930"/>
                  <a:gd name="connsiteX3" fmla="*/ 494985 w 494985"/>
                  <a:gd name="connsiteY3" fmla="*/ 28501 h 1119930"/>
                  <a:gd name="connsiteX4" fmla="*/ 494985 w 494985"/>
                  <a:gd name="connsiteY4" fmla="*/ 1006985 h 1119930"/>
                  <a:gd name="connsiteX5" fmla="*/ 466484 w 494985"/>
                  <a:gd name="connsiteY5" fmla="*/ 1035486 h 1119930"/>
                  <a:gd name="connsiteX6" fmla="*/ 364775 w 494985"/>
                  <a:gd name="connsiteY6" fmla="*/ 1062739 h 1119930"/>
                  <a:gd name="connsiteX7" fmla="*/ 326675 w 494985"/>
                  <a:gd name="connsiteY7" fmla="*/ 1119889 h 1119930"/>
                  <a:gd name="connsiteX8" fmla="*/ 150463 w 494985"/>
                  <a:gd name="connsiteY8" fmla="*/ 1053215 h 1119930"/>
                  <a:gd name="connsiteX9" fmla="*/ 28501 w 494985"/>
                  <a:gd name="connsiteY9" fmla="*/ 1035486 h 1119930"/>
                  <a:gd name="connsiteX10" fmla="*/ 0 w 494985"/>
                  <a:gd name="connsiteY10" fmla="*/ 1006985 h 1119930"/>
                  <a:gd name="connsiteX11" fmla="*/ 0 w 494985"/>
                  <a:gd name="connsiteY11" fmla="*/ 28501 h 1119930"/>
                  <a:gd name="connsiteX0" fmla="*/ 0 w 494985"/>
                  <a:gd name="connsiteY0" fmla="*/ 28501 h 1120193"/>
                  <a:gd name="connsiteX1" fmla="*/ 28501 w 494985"/>
                  <a:gd name="connsiteY1" fmla="*/ 0 h 1120193"/>
                  <a:gd name="connsiteX2" fmla="*/ 466484 w 494985"/>
                  <a:gd name="connsiteY2" fmla="*/ 0 h 1120193"/>
                  <a:gd name="connsiteX3" fmla="*/ 494985 w 494985"/>
                  <a:gd name="connsiteY3" fmla="*/ 28501 h 1120193"/>
                  <a:gd name="connsiteX4" fmla="*/ 494985 w 494985"/>
                  <a:gd name="connsiteY4" fmla="*/ 1006985 h 1120193"/>
                  <a:gd name="connsiteX5" fmla="*/ 466484 w 494985"/>
                  <a:gd name="connsiteY5" fmla="*/ 1035486 h 1120193"/>
                  <a:gd name="connsiteX6" fmla="*/ 364775 w 494985"/>
                  <a:gd name="connsiteY6" fmla="*/ 1062739 h 1120193"/>
                  <a:gd name="connsiteX7" fmla="*/ 326675 w 494985"/>
                  <a:gd name="connsiteY7" fmla="*/ 1119889 h 1120193"/>
                  <a:gd name="connsiteX8" fmla="*/ 28501 w 494985"/>
                  <a:gd name="connsiteY8" fmla="*/ 1035486 h 1120193"/>
                  <a:gd name="connsiteX9" fmla="*/ 0 w 494985"/>
                  <a:gd name="connsiteY9" fmla="*/ 1006985 h 1120193"/>
                  <a:gd name="connsiteX10" fmla="*/ 0 w 494985"/>
                  <a:gd name="connsiteY10" fmla="*/ 28501 h 1120193"/>
                  <a:gd name="connsiteX0" fmla="*/ 0 w 494985"/>
                  <a:gd name="connsiteY0" fmla="*/ 28501 h 1062739"/>
                  <a:gd name="connsiteX1" fmla="*/ 28501 w 494985"/>
                  <a:gd name="connsiteY1" fmla="*/ 0 h 1062739"/>
                  <a:gd name="connsiteX2" fmla="*/ 466484 w 494985"/>
                  <a:gd name="connsiteY2" fmla="*/ 0 h 1062739"/>
                  <a:gd name="connsiteX3" fmla="*/ 494985 w 494985"/>
                  <a:gd name="connsiteY3" fmla="*/ 28501 h 1062739"/>
                  <a:gd name="connsiteX4" fmla="*/ 494985 w 494985"/>
                  <a:gd name="connsiteY4" fmla="*/ 1006985 h 1062739"/>
                  <a:gd name="connsiteX5" fmla="*/ 466484 w 494985"/>
                  <a:gd name="connsiteY5" fmla="*/ 1035486 h 1062739"/>
                  <a:gd name="connsiteX6" fmla="*/ 364775 w 494985"/>
                  <a:gd name="connsiteY6" fmla="*/ 1062739 h 1062739"/>
                  <a:gd name="connsiteX7" fmla="*/ 28501 w 494985"/>
                  <a:gd name="connsiteY7" fmla="*/ 1035486 h 1062739"/>
                  <a:gd name="connsiteX8" fmla="*/ 0 w 494985"/>
                  <a:gd name="connsiteY8" fmla="*/ 1006985 h 1062739"/>
                  <a:gd name="connsiteX9" fmla="*/ 0 w 494985"/>
                  <a:gd name="connsiteY9" fmla="*/ 28501 h 1062739"/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038340"/>
                  <a:gd name="connsiteX1" fmla="*/ 28501 w 494985"/>
                  <a:gd name="connsiteY1" fmla="*/ 0 h 1038340"/>
                  <a:gd name="connsiteX2" fmla="*/ 466484 w 494985"/>
                  <a:gd name="connsiteY2" fmla="*/ 0 h 1038340"/>
                  <a:gd name="connsiteX3" fmla="*/ 494985 w 494985"/>
                  <a:gd name="connsiteY3" fmla="*/ 28501 h 1038340"/>
                  <a:gd name="connsiteX4" fmla="*/ 494985 w 494985"/>
                  <a:gd name="connsiteY4" fmla="*/ 1006985 h 1038340"/>
                  <a:gd name="connsiteX5" fmla="*/ 466484 w 494985"/>
                  <a:gd name="connsiteY5" fmla="*/ 1035486 h 1038340"/>
                  <a:gd name="connsiteX6" fmla="*/ 153637 w 494985"/>
                  <a:gd name="connsiteY6" fmla="*/ 1037339 h 1038340"/>
                  <a:gd name="connsiteX7" fmla="*/ 28501 w 494985"/>
                  <a:gd name="connsiteY7" fmla="*/ 1035486 h 1038340"/>
                  <a:gd name="connsiteX8" fmla="*/ 0 w 494985"/>
                  <a:gd name="connsiteY8" fmla="*/ 1006985 h 1038340"/>
                  <a:gd name="connsiteX9" fmla="*/ 0 w 494985"/>
                  <a:gd name="connsiteY9" fmla="*/ 28501 h 1038340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274287 w 494985"/>
                  <a:gd name="connsiteY6" fmla="*/ 1037339 h 1038241"/>
                  <a:gd name="connsiteX7" fmla="*/ 153637 w 494985"/>
                  <a:gd name="connsiteY7" fmla="*/ 1037339 h 1038241"/>
                  <a:gd name="connsiteX8" fmla="*/ 28501 w 494985"/>
                  <a:gd name="connsiteY8" fmla="*/ 1035486 h 1038241"/>
                  <a:gd name="connsiteX9" fmla="*/ 0 w 494985"/>
                  <a:gd name="connsiteY9" fmla="*/ 1006985 h 1038241"/>
                  <a:gd name="connsiteX10" fmla="*/ 0 w 494985"/>
                  <a:gd name="connsiteY10" fmla="*/ 28501 h 1038241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369537 w 494985"/>
                  <a:gd name="connsiteY6" fmla="*/ 1030990 h 1038241"/>
                  <a:gd name="connsiteX7" fmla="*/ 274287 w 494985"/>
                  <a:gd name="connsiteY7" fmla="*/ 1037339 h 1038241"/>
                  <a:gd name="connsiteX8" fmla="*/ 153637 w 494985"/>
                  <a:gd name="connsiteY8" fmla="*/ 1037339 h 1038241"/>
                  <a:gd name="connsiteX9" fmla="*/ 28501 w 494985"/>
                  <a:gd name="connsiteY9" fmla="*/ 1035486 h 1038241"/>
                  <a:gd name="connsiteX10" fmla="*/ 0 w 494985"/>
                  <a:gd name="connsiteY10" fmla="*/ 1006985 h 1038241"/>
                  <a:gd name="connsiteX11" fmla="*/ 0 w 494985"/>
                  <a:gd name="connsiteY11" fmla="*/ 28501 h 1038241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0373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1008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7605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0461 w 494985"/>
                  <a:gd name="connsiteY8" fmla="*/ 1040514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57"/>
                  <a:gd name="connsiteX1" fmla="*/ 28501 w 494985"/>
                  <a:gd name="connsiteY1" fmla="*/ 0 h 1100857"/>
                  <a:gd name="connsiteX2" fmla="*/ 466484 w 494985"/>
                  <a:gd name="connsiteY2" fmla="*/ 0 h 1100857"/>
                  <a:gd name="connsiteX3" fmla="*/ 494985 w 494985"/>
                  <a:gd name="connsiteY3" fmla="*/ 28501 h 1100857"/>
                  <a:gd name="connsiteX4" fmla="*/ 494985 w 494985"/>
                  <a:gd name="connsiteY4" fmla="*/ 1006985 h 1100857"/>
                  <a:gd name="connsiteX5" fmla="*/ 466484 w 494985"/>
                  <a:gd name="connsiteY5" fmla="*/ 1035486 h 1100857"/>
                  <a:gd name="connsiteX6" fmla="*/ 369537 w 494985"/>
                  <a:gd name="connsiteY6" fmla="*/ 1030990 h 1100857"/>
                  <a:gd name="connsiteX7" fmla="*/ 198087 w 494985"/>
                  <a:gd name="connsiteY7" fmla="*/ 1100839 h 1100857"/>
                  <a:gd name="connsiteX8" fmla="*/ 148080 w 494985"/>
                  <a:gd name="connsiteY8" fmla="*/ 1033370 h 1100857"/>
                  <a:gd name="connsiteX9" fmla="*/ 28501 w 494985"/>
                  <a:gd name="connsiteY9" fmla="*/ 1035486 h 1100857"/>
                  <a:gd name="connsiteX10" fmla="*/ 0 w 494985"/>
                  <a:gd name="connsiteY10" fmla="*/ 1006985 h 1100857"/>
                  <a:gd name="connsiteX11" fmla="*/ 0 w 494985"/>
                  <a:gd name="connsiteY11" fmla="*/ 28501 h 1100857"/>
                  <a:gd name="connsiteX0" fmla="*/ 0 w 494985"/>
                  <a:gd name="connsiteY0" fmla="*/ 28501 h 1101187"/>
                  <a:gd name="connsiteX1" fmla="*/ 28501 w 494985"/>
                  <a:gd name="connsiteY1" fmla="*/ 0 h 1101187"/>
                  <a:gd name="connsiteX2" fmla="*/ 466484 w 494985"/>
                  <a:gd name="connsiteY2" fmla="*/ 0 h 1101187"/>
                  <a:gd name="connsiteX3" fmla="*/ 494985 w 494985"/>
                  <a:gd name="connsiteY3" fmla="*/ 28501 h 1101187"/>
                  <a:gd name="connsiteX4" fmla="*/ 494985 w 494985"/>
                  <a:gd name="connsiteY4" fmla="*/ 1006985 h 1101187"/>
                  <a:gd name="connsiteX5" fmla="*/ 466484 w 494985"/>
                  <a:gd name="connsiteY5" fmla="*/ 1035486 h 1101187"/>
                  <a:gd name="connsiteX6" fmla="*/ 369537 w 494985"/>
                  <a:gd name="connsiteY6" fmla="*/ 1030990 h 1101187"/>
                  <a:gd name="connsiteX7" fmla="*/ 198087 w 494985"/>
                  <a:gd name="connsiteY7" fmla="*/ 1100839 h 1101187"/>
                  <a:gd name="connsiteX8" fmla="*/ 148080 w 494985"/>
                  <a:gd name="connsiteY8" fmla="*/ 1033370 h 1101187"/>
                  <a:gd name="connsiteX9" fmla="*/ 28501 w 494985"/>
                  <a:gd name="connsiteY9" fmla="*/ 1035486 h 1101187"/>
                  <a:gd name="connsiteX10" fmla="*/ 0 w 494985"/>
                  <a:gd name="connsiteY10" fmla="*/ 1006985 h 1101187"/>
                  <a:gd name="connsiteX11" fmla="*/ 0 w 494985"/>
                  <a:gd name="connsiteY11" fmla="*/ 28501 h 1101187"/>
                  <a:gd name="connsiteX0" fmla="*/ 0 w 494985"/>
                  <a:gd name="connsiteY0" fmla="*/ 28501 h 1101096"/>
                  <a:gd name="connsiteX1" fmla="*/ 28501 w 494985"/>
                  <a:gd name="connsiteY1" fmla="*/ 0 h 1101096"/>
                  <a:gd name="connsiteX2" fmla="*/ 466484 w 494985"/>
                  <a:gd name="connsiteY2" fmla="*/ 0 h 1101096"/>
                  <a:gd name="connsiteX3" fmla="*/ 494985 w 494985"/>
                  <a:gd name="connsiteY3" fmla="*/ 28501 h 1101096"/>
                  <a:gd name="connsiteX4" fmla="*/ 494985 w 494985"/>
                  <a:gd name="connsiteY4" fmla="*/ 1006985 h 1101096"/>
                  <a:gd name="connsiteX5" fmla="*/ 466484 w 494985"/>
                  <a:gd name="connsiteY5" fmla="*/ 1035486 h 1101096"/>
                  <a:gd name="connsiteX6" fmla="*/ 369537 w 494985"/>
                  <a:gd name="connsiteY6" fmla="*/ 1030990 h 1101096"/>
                  <a:gd name="connsiteX7" fmla="*/ 290956 w 494985"/>
                  <a:gd name="connsiteY7" fmla="*/ 1055596 h 1101096"/>
                  <a:gd name="connsiteX8" fmla="*/ 198087 w 494985"/>
                  <a:gd name="connsiteY8" fmla="*/ 1100839 h 1101096"/>
                  <a:gd name="connsiteX9" fmla="*/ 148080 w 494985"/>
                  <a:gd name="connsiteY9" fmla="*/ 1033370 h 1101096"/>
                  <a:gd name="connsiteX10" fmla="*/ 28501 w 494985"/>
                  <a:gd name="connsiteY10" fmla="*/ 1035486 h 1101096"/>
                  <a:gd name="connsiteX11" fmla="*/ 0 w 494985"/>
                  <a:gd name="connsiteY11" fmla="*/ 1006985 h 1101096"/>
                  <a:gd name="connsiteX12" fmla="*/ 0 w 494985"/>
                  <a:gd name="connsiteY12" fmla="*/ 28501 h 1101096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6321"/>
                  <a:gd name="connsiteX1" fmla="*/ 28501 w 494985"/>
                  <a:gd name="connsiteY1" fmla="*/ 0 h 1106321"/>
                  <a:gd name="connsiteX2" fmla="*/ 466484 w 494985"/>
                  <a:gd name="connsiteY2" fmla="*/ 0 h 1106321"/>
                  <a:gd name="connsiteX3" fmla="*/ 494985 w 494985"/>
                  <a:gd name="connsiteY3" fmla="*/ 28501 h 1106321"/>
                  <a:gd name="connsiteX4" fmla="*/ 494985 w 494985"/>
                  <a:gd name="connsiteY4" fmla="*/ 1006985 h 1106321"/>
                  <a:gd name="connsiteX5" fmla="*/ 466484 w 494985"/>
                  <a:gd name="connsiteY5" fmla="*/ 1035486 h 1106321"/>
                  <a:gd name="connsiteX6" fmla="*/ 371918 w 494985"/>
                  <a:gd name="connsiteY6" fmla="*/ 1041471 h 1106321"/>
                  <a:gd name="connsiteX7" fmla="*/ 305243 w 494985"/>
                  <a:gd name="connsiteY7" fmla="*/ 1106317 h 1106321"/>
                  <a:gd name="connsiteX8" fmla="*/ 198087 w 494985"/>
                  <a:gd name="connsiteY8" fmla="*/ 1100839 h 1106321"/>
                  <a:gd name="connsiteX9" fmla="*/ 150462 w 494985"/>
                  <a:gd name="connsiteY9" fmla="*/ 1038611 h 1106321"/>
                  <a:gd name="connsiteX10" fmla="*/ 28501 w 494985"/>
                  <a:gd name="connsiteY10" fmla="*/ 1035486 h 1106321"/>
                  <a:gd name="connsiteX11" fmla="*/ 0 w 494985"/>
                  <a:gd name="connsiteY11" fmla="*/ 1006985 h 1106321"/>
                  <a:gd name="connsiteX12" fmla="*/ 0 w 494985"/>
                  <a:gd name="connsiteY12" fmla="*/ 28501 h 1106321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0462 w 494985"/>
                  <a:gd name="connsiteY9" fmla="*/ 103861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79037 w 494985"/>
                  <a:gd name="connsiteY9" fmla="*/ 10359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153278 w 494985"/>
                  <a:gd name="connsiteY10" fmla="*/ 1037850 h 1102488"/>
                  <a:gd name="connsiteX11" fmla="*/ 28501 w 494985"/>
                  <a:gd name="connsiteY11" fmla="*/ 1035486 h 1102488"/>
                  <a:gd name="connsiteX12" fmla="*/ 0 w 494985"/>
                  <a:gd name="connsiteY12" fmla="*/ 1006985 h 1102488"/>
                  <a:gd name="connsiteX13" fmla="*/ 0 w 494985"/>
                  <a:gd name="connsiteY13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3278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3654"/>
                  <a:gd name="connsiteX1" fmla="*/ 28501 w 494985"/>
                  <a:gd name="connsiteY1" fmla="*/ 0 h 1103654"/>
                  <a:gd name="connsiteX2" fmla="*/ 466484 w 494985"/>
                  <a:gd name="connsiteY2" fmla="*/ 0 h 1103654"/>
                  <a:gd name="connsiteX3" fmla="*/ 494985 w 494985"/>
                  <a:gd name="connsiteY3" fmla="*/ 28501 h 1103654"/>
                  <a:gd name="connsiteX4" fmla="*/ 494985 w 494985"/>
                  <a:gd name="connsiteY4" fmla="*/ 1006985 h 1103654"/>
                  <a:gd name="connsiteX5" fmla="*/ 466484 w 494985"/>
                  <a:gd name="connsiteY5" fmla="*/ 1035486 h 1103654"/>
                  <a:gd name="connsiteX6" fmla="*/ 371918 w 494985"/>
                  <a:gd name="connsiteY6" fmla="*/ 1041471 h 1103654"/>
                  <a:gd name="connsiteX7" fmla="*/ 307624 w 494985"/>
                  <a:gd name="connsiteY7" fmla="*/ 1101077 h 1103654"/>
                  <a:gd name="connsiteX8" fmla="*/ 198087 w 494985"/>
                  <a:gd name="connsiteY8" fmla="*/ 1100839 h 1103654"/>
                  <a:gd name="connsiteX9" fmla="*/ 136609 w 494985"/>
                  <a:gd name="connsiteY9" fmla="*/ 1037850 h 1103654"/>
                  <a:gd name="connsiteX10" fmla="*/ 28501 w 494985"/>
                  <a:gd name="connsiteY10" fmla="*/ 1035486 h 1103654"/>
                  <a:gd name="connsiteX11" fmla="*/ 0 w 494985"/>
                  <a:gd name="connsiteY11" fmla="*/ 1006985 h 1103654"/>
                  <a:gd name="connsiteX12" fmla="*/ 0 w 494985"/>
                  <a:gd name="connsiteY12" fmla="*/ 28501 h 1103654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6240"/>
                  <a:gd name="connsiteX1" fmla="*/ 28501 w 494985"/>
                  <a:gd name="connsiteY1" fmla="*/ 0 h 1106240"/>
                  <a:gd name="connsiteX2" fmla="*/ 466484 w 494985"/>
                  <a:gd name="connsiteY2" fmla="*/ 0 h 1106240"/>
                  <a:gd name="connsiteX3" fmla="*/ 494985 w 494985"/>
                  <a:gd name="connsiteY3" fmla="*/ 28501 h 1106240"/>
                  <a:gd name="connsiteX4" fmla="*/ 494985 w 494985"/>
                  <a:gd name="connsiteY4" fmla="*/ 1006985 h 1106240"/>
                  <a:gd name="connsiteX5" fmla="*/ 466484 w 494985"/>
                  <a:gd name="connsiteY5" fmla="*/ 1035486 h 1106240"/>
                  <a:gd name="connsiteX6" fmla="*/ 369537 w 494985"/>
                  <a:gd name="connsiteY6" fmla="*/ 1033611 h 1106240"/>
                  <a:gd name="connsiteX7" fmla="*/ 307624 w 494985"/>
                  <a:gd name="connsiteY7" fmla="*/ 1101077 h 1106240"/>
                  <a:gd name="connsiteX8" fmla="*/ 198087 w 494985"/>
                  <a:gd name="connsiteY8" fmla="*/ 1100839 h 1106240"/>
                  <a:gd name="connsiteX9" fmla="*/ 158041 w 494985"/>
                  <a:gd name="connsiteY9" fmla="*/ 1035229 h 1106240"/>
                  <a:gd name="connsiteX10" fmla="*/ 28501 w 494985"/>
                  <a:gd name="connsiteY10" fmla="*/ 1035486 h 1106240"/>
                  <a:gd name="connsiteX11" fmla="*/ 0 w 494985"/>
                  <a:gd name="connsiteY11" fmla="*/ 1006985 h 1106240"/>
                  <a:gd name="connsiteX12" fmla="*/ 0 w 494985"/>
                  <a:gd name="connsiteY12" fmla="*/ 28501 h 1106240"/>
                  <a:gd name="connsiteX0" fmla="*/ 0 w 494985"/>
                  <a:gd name="connsiteY0" fmla="*/ 28501 h 1105659"/>
                  <a:gd name="connsiteX1" fmla="*/ 28501 w 494985"/>
                  <a:gd name="connsiteY1" fmla="*/ 0 h 1105659"/>
                  <a:gd name="connsiteX2" fmla="*/ 466484 w 494985"/>
                  <a:gd name="connsiteY2" fmla="*/ 0 h 1105659"/>
                  <a:gd name="connsiteX3" fmla="*/ 494985 w 494985"/>
                  <a:gd name="connsiteY3" fmla="*/ 28501 h 1105659"/>
                  <a:gd name="connsiteX4" fmla="*/ 494985 w 494985"/>
                  <a:gd name="connsiteY4" fmla="*/ 1006985 h 1105659"/>
                  <a:gd name="connsiteX5" fmla="*/ 466484 w 494985"/>
                  <a:gd name="connsiteY5" fmla="*/ 1035486 h 1105659"/>
                  <a:gd name="connsiteX6" fmla="*/ 371918 w 494985"/>
                  <a:gd name="connsiteY6" fmla="*/ 1041470 h 1105659"/>
                  <a:gd name="connsiteX7" fmla="*/ 307624 w 494985"/>
                  <a:gd name="connsiteY7" fmla="*/ 1101077 h 1105659"/>
                  <a:gd name="connsiteX8" fmla="*/ 198087 w 494985"/>
                  <a:gd name="connsiteY8" fmla="*/ 1100839 h 1105659"/>
                  <a:gd name="connsiteX9" fmla="*/ 158041 w 494985"/>
                  <a:gd name="connsiteY9" fmla="*/ 1035229 h 1105659"/>
                  <a:gd name="connsiteX10" fmla="*/ 28501 w 494985"/>
                  <a:gd name="connsiteY10" fmla="*/ 1035486 h 1105659"/>
                  <a:gd name="connsiteX11" fmla="*/ 0 w 494985"/>
                  <a:gd name="connsiteY11" fmla="*/ 1006985 h 1105659"/>
                  <a:gd name="connsiteX12" fmla="*/ 0 w 494985"/>
                  <a:gd name="connsiteY12" fmla="*/ 28501 h 1105659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4264"/>
                  <a:gd name="connsiteX1" fmla="*/ 28501 w 494985"/>
                  <a:gd name="connsiteY1" fmla="*/ 0 h 1104264"/>
                  <a:gd name="connsiteX2" fmla="*/ 466484 w 494985"/>
                  <a:gd name="connsiteY2" fmla="*/ 0 h 1104264"/>
                  <a:gd name="connsiteX3" fmla="*/ 494985 w 494985"/>
                  <a:gd name="connsiteY3" fmla="*/ 28501 h 1104264"/>
                  <a:gd name="connsiteX4" fmla="*/ 494985 w 494985"/>
                  <a:gd name="connsiteY4" fmla="*/ 1006985 h 1104264"/>
                  <a:gd name="connsiteX5" fmla="*/ 466484 w 494985"/>
                  <a:gd name="connsiteY5" fmla="*/ 1035486 h 1104264"/>
                  <a:gd name="connsiteX6" fmla="*/ 364775 w 494985"/>
                  <a:gd name="connsiteY6" fmla="*/ 1036230 h 1104264"/>
                  <a:gd name="connsiteX7" fmla="*/ 312387 w 494985"/>
                  <a:gd name="connsiteY7" fmla="*/ 1098457 h 1104264"/>
                  <a:gd name="connsiteX8" fmla="*/ 198087 w 494985"/>
                  <a:gd name="connsiteY8" fmla="*/ 1100839 h 1104264"/>
                  <a:gd name="connsiteX9" fmla="*/ 158041 w 494985"/>
                  <a:gd name="connsiteY9" fmla="*/ 1035229 h 1104264"/>
                  <a:gd name="connsiteX10" fmla="*/ 28501 w 494985"/>
                  <a:gd name="connsiteY10" fmla="*/ 1035486 h 1104264"/>
                  <a:gd name="connsiteX11" fmla="*/ 0 w 494985"/>
                  <a:gd name="connsiteY11" fmla="*/ 1006985 h 1104264"/>
                  <a:gd name="connsiteX12" fmla="*/ 0 w 494985"/>
                  <a:gd name="connsiteY12" fmla="*/ 28501 h 1104264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312387 w 494985"/>
                  <a:gd name="connsiteY7" fmla="*/ 1098457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198087 w 494985"/>
                  <a:gd name="connsiteY7" fmla="*/ 1100839 h 1100839"/>
                  <a:gd name="connsiteX8" fmla="*/ 158041 w 494985"/>
                  <a:gd name="connsiteY8" fmla="*/ 1035229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289009 w 494985"/>
                  <a:gd name="connsiteY7" fmla="*/ 1064051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64775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52869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40962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13832"/>
                  <a:gd name="connsiteX1" fmla="*/ 28501 w 494985"/>
                  <a:gd name="connsiteY1" fmla="*/ 0 h 1113832"/>
                  <a:gd name="connsiteX2" fmla="*/ 466484 w 494985"/>
                  <a:gd name="connsiteY2" fmla="*/ 0 h 1113832"/>
                  <a:gd name="connsiteX3" fmla="*/ 494985 w 494985"/>
                  <a:gd name="connsiteY3" fmla="*/ 28501 h 1113832"/>
                  <a:gd name="connsiteX4" fmla="*/ 494985 w 494985"/>
                  <a:gd name="connsiteY4" fmla="*/ 1006985 h 1113832"/>
                  <a:gd name="connsiteX5" fmla="*/ 466484 w 494985"/>
                  <a:gd name="connsiteY5" fmla="*/ 1035486 h 1113832"/>
                  <a:gd name="connsiteX6" fmla="*/ 340962 w 494985"/>
                  <a:gd name="connsiteY6" fmla="*/ 1036230 h 1113832"/>
                  <a:gd name="connsiteX7" fmla="*/ 293772 w 494985"/>
                  <a:gd name="connsiteY7" fmla="*/ 1113832 h 1113832"/>
                  <a:gd name="connsiteX8" fmla="*/ 200469 w 494985"/>
                  <a:gd name="connsiteY8" fmla="*/ 1108699 h 1113832"/>
                  <a:gd name="connsiteX9" fmla="*/ 158041 w 494985"/>
                  <a:gd name="connsiteY9" fmla="*/ 1035229 h 1113832"/>
                  <a:gd name="connsiteX10" fmla="*/ 28501 w 494985"/>
                  <a:gd name="connsiteY10" fmla="*/ 1035486 h 1113832"/>
                  <a:gd name="connsiteX11" fmla="*/ 0 w 494985"/>
                  <a:gd name="connsiteY11" fmla="*/ 1006985 h 1113832"/>
                  <a:gd name="connsiteX12" fmla="*/ 0 w 494985"/>
                  <a:gd name="connsiteY12" fmla="*/ 28501 h 111383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305679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4985" h="1108699">
                    <a:moveTo>
                      <a:pt x="0" y="28501"/>
                    </a:moveTo>
                    <a:cubicBezTo>
                      <a:pt x="0" y="12760"/>
                      <a:pt x="12760" y="0"/>
                      <a:pt x="28501" y="0"/>
                    </a:cubicBezTo>
                    <a:lnTo>
                      <a:pt x="466484" y="0"/>
                    </a:lnTo>
                    <a:cubicBezTo>
                      <a:pt x="482225" y="0"/>
                      <a:pt x="494985" y="12760"/>
                      <a:pt x="494985" y="28501"/>
                    </a:cubicBezTo>
                    <a:lnTo>
                      <a:pt x="494985" y="1006985"/>
                    </a:lnTo>
                    <a:cubicBezTo>
                      <a:pt x="494985" y="1022726"/>
                      <a:pt x="482225" y="1035486"/>
                      <a:pt x="466484" y="1035486"/>
                    </a:cubicBezTo>
                    <a:lnTo>
                      <a:pt x="340962" y="1036230"/>
                    </a:lnTo>
                    <a:lnTo>
                      <a:pt x="305679" y="1108591"/>
                    </a:lnTo>
                    <a:lnTo>
                      <a:pt x="186182" y="1108699"/>
                    </a:lnTo>
                    <a:lnTo>
                      <a:pt x="158041" y="1035229"/>
                    </a:lnTo>
                    <a:lnTo>
                      <a:pt x="28501" y="1035486"/>
                    </a:lnTo>
                    <a:cubicBezTo>
                      <a:pt x="12760" y="1035486"/>
                      <a:pt x="0" y="1022726"/>
                      <a:pt x="0" y="1006985"/>
                    </a:cubicBezTo>
                    <a:lnTo>
                      <a:pt x="0" y="28501"/>
                    </a:lnTo>
                    <a:close/>
                  </a:path>
                </a:pathLst>
              </a:custGeom>
              <a:solidFill>
                <a:srgbClr val="00827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8288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Search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Solr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  <p:sp>
            <p:nvSpPr>
              <p:cNvPr id="20" name="Rounded Rectangle 37"/>
              <p:cNvSpPr>
                <a:spLocks/>
              </p:cNvSpPr>
              <p:nvPr/>
            </p:nvSpPr>
            <p:spPr>
              <a:xfrm>
                <a:off x="4050429" y="4443822"/>
                <a:ext cx="548640" cy="817853"/>
              </a:xfrm>
              <a:custGeom>
                <a:avLst/>
                <a:gdLst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100841"/>
                  <a:gd name="connsiteX1" fmla="*/ 28501 w 494985"/>
                  <a:gd name="connsiteY1" fmla="*/ 0 h 1100841"/>
                  <a:gd name="connsiteX2" fmla="*/ 466484 w 494985"/>
                  <a:gd name="connsiteY2" fmla="*/ 0 h 1100841"/>
                  <a:gd name="connsiteX3" fmla="*/ 494985 w 494985"/>
                  <a:gd name="connsiteY3" fmla="*/ 28501 h 1100841"/>
                  <a:gd name="connsiteX4" fmla="*/ 494985 w 494985"/>
                  <a:gd name="connsiteY4" fmla="*/ 1006985 h 1100841"/>
                  <a:gd name="connsiteX5" fmla="*/ 466484 w 494985"/>
                  <a:gd name="connsiteY5" fmla="*/ 1035486 h 1100841"/>
                  <a:gd name="connsiteX6" fmla="*/ 202850 w 494985"/>
                  <a:gd name="connsiteY6" fmla="*/ 1100839 h 1100841"/>
                  <a:gd name="connsiteX7" fmla="*/ 28501 w 494985"/>
                  <a:gd name="connsiteY7" fmla="*/ 1035486 h 1100841"/>
                  <a:gd name="connsiteX8" fmla="*/ 0 w 494985"/>
                  <a:gd name="connsiteY8" fmla="*/ 1006985 h 1100841"/>
                  <a:gd name="connsiteX9" fmla="*/ 0 w 494985"/>
                  <a:gd name="connsiteY9" fmla="*/ 28501 h 1100841"/>
                  <a:gd name="connsiteX0" fmla="*/ 0 w 494985"/>
                  <a:gd name="connsiteY0" fmla="*/ 28501 h 1122703"/>
                  <a:gd name="connsiteX1" fmla="*/ 28501 w 494985"/>
                  <a:gd name="connsiteY1" fmla="*/ 0 h 1122703"/>
                  <a:gd name="connsiteX2" fmla="*/ 466484 w 494985"/>
                  <a:gd name="connsiteY2" fmla="*/ 0 h 1122703"/>
                  <a:gd name="connsiteX3" fmla="*/ 494985 w 494985"/>
                  <a:gd name="connsiteY3" fmla="*/ 28501 h 1122703"/>
                  <a:gd name="connsiteX4" fmla="*/ 494985 w 494985"/>
                  <a:gd name="connsiteY4" fmla="*/ 1006985 h 1122703"/>
                  <a:gd name="connsiteX5" fmla="*/ 466484 w 494985"/>
                  <a:gd name="connsiteY5" fmla="*/ 1035486 h 1122703"/>
                  <a:gd name="connsiteX6" fmla="*/ 326675 w 494985"/>
                  <a:gd name="connsiteY6" fmla="*/ 1119889 h 1122703"/>
                  <a:gd name="connsiteX7" fmla="*/ 202850 w 494985"/>
                  <a:gd name="connsiteY7" fmla="*/ 1100839 h 1122703"/>
                  <a:gd name="connsiteX8" fmla="*/ 28501 w 494985"/>
                  <a:gd name="connsiteY8" fmla="*/ 1035486 h 1122703"/>
                  <a:gd name="connsiteX9" fmla="*/ 0 w 494985"/>
                  <a:gd name="connsiteY9" fmla="*/ 1006985 h 1122703"/>
                  <a:gd name="connsiteX10" fmla="*/ 0 w 494985"/>
                  <a:gd name="connsiteY10" fmla="*/ 28501 h 1122703"/>
                  <a:gd name="connsiteX0" fmla="*/ 0 w 494985"/>
                  <a:gd name="connsiteY0" fmla="*/ 28501 h 1120138"/>
                  <a:gd name="connsiteX1" fmla="*/ 28501 w 494985"/>
                  <a:gd name="connsiteY1" fmla="*/ 0 h 1120138"/>
                  <a:gd name="connsiteX2" fmla="*/ 466484 w 494985"/>
                  <a:gd name="connsiteY2" fmla="*/ 0 h 1120138"/>
                  <a:gd name="connsiteX3" fmla="*/ 494985 w 494985"/>
                  <a:gd name="connsiteY3" fmla="*/ 28501 h 1120138"/>
                  <a:gd name="connsiteX4" fmla="*/ 494985 w 494985"/>
                  <a:gd name="connsiteY4" fmla="*/ 1006985 h 1120138"/>
                  <a:gd name="connsiteX5" fmla="*/ 466484 w 494985"/>
                  <a:gd name="connsiteY5" fmla="*/ 1035486 h 1120138"/>
                  <a:gd name="connsiteX6" fmla="*/ 364775 w 494985"/>
                  <a:gd name="connsiteY6" fmla="*/ 1062739 h 1120138"/>
                  <a:gd name="connsiteX7" fmla="*/ 326675 w 494985"/>
                  <a:gd name="connsiteY7" fmla="*/ 1119889 h 1120138"/>
                  <a:gd name="connsiteX8" fmla="*/ 202850 w 494985"/>
                  <a:gd name="connsiteY8" fmla="*/ 1100839 h 1120138"/>
                  <a:gd name="connsiteX9" fmla="*/ 28501 w 494985"/>
                  <a:gd name="connsiteY9" fmla="*/ 1035486 h 1120138"/>
                  <a:gd name="connsiteX10" fmla="*/ 0 w 494985"/>
                  <a:gd name="connsiteY10" fmla="*/ 1006985 h 1120138"/>
                  <a:gd name="connsiteX11" fmla="*/ 0 w 494985"/>
                  <a:gd name="connsiteY11" fmla="*/ 28501 h 1120138"/>
                  <a:gd name="connsiteX0" fmla="*/ 0 w 494985"/>
                  <a:gd name="connsiteY0" fmla="*/ 28501 h 1126828"/>
                  <a:gd name="connsiteX1" fmla="*/ 28501 w 494985"/>
                  <a:gd name="connsiteY1" fmla="*/ 0 h 1126828"/>
                  <a:gd name="connsiteX2" fmla="*/ 466484 w 494985"/>
                  <a:gd name="connsiteY2" fmla="*/ 0 h 1126828"/>
                  <a:gd name="connsiteX3" fmla="*/ 494985 w 494985"/>
                  <a:gd name="connsiteY3" fmla="*/ 28501 h 1126828"/>
                  <a:gd name="connsiteX4" fmla="*/ 494985 w 494985"/>
                  <a:gd name="connsiteY4" fmla="*/ 1006985 h 1126828"/>
                  <a:gd name="connsiteX5" fmla="*/ 466484 w 494985"/>
                  <a:gd name="connsiteY5" fmla="*/ 1035486 h 1126828"/>
                  <a:gd name="connsiteX6" fmla="*/ 364775 w 494985"/>
                  <a:gd name="connsiteY6" fmla="*/ 1062739 h 1126828"/>
                  <a:gd name="connsiteX7" fmla="*/ 326675 w 494985"/>
                  <a:gd name="connsiteY7" fmla="*/ 1119889 h 1126828"/>
                  <a:gd name="connsiteX8" fmla="*/ 212375 w 494985"/>
                  <a:gd name="connsiteY8" fmla="*/ 1124651 h 1126828"/>
                  <a:gd name="connsiteX9" fmla="*/ 28501 w 494985"/>
                  <a:gd name="connsiteY9" fmla="*/ 1035486 h 1126828"/>
                  <a:gd name="connsiteX10" fmla="*/ 0 w 494985"/>
                  <a:gd name="connsiteY10" fmla="*/ 1006985 h 1126828"/>
                  <a:gd name="connsiteX11" fmla="*/ 0 w 494985"/>
                  <a:gd name="connsiteY11" fmla="*/ 28501 h 1126828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19930"/>
                  <a:gd name="connsiteX1" fmla="*/ 28501 w 494985"/>
                  <a:gd name="connsiteY1" fmla="*/ 0 h 1119930"/>
                  <a:gd name="connsiteX2" fmla="*/ 466484 w 494985"/>
                  <a:gd name="connsiteY2" fmla="*/ 0 h 1119930"/>
                  <a:gd name="connsiteX3" fmla="*/ 494985 w 494985"/>
                  <a:gd name="connsiteY3" fmla="*/ 28501 h 1119930"/>
                  <a:gd name="connsiteX4" fmla="*/ 494985 w 494985"/>
                  <a:gd name="connsiteY4" fmla="*/ 1006985 h 1119930"/>
                  <a:gd name="connsiteX5" fmla="*/ 466484 w 494985"/>
                  <a:gd name="connsiteY5" fmla="*/ 1035486 h 1119930"/>
                  <a:gd name="connsiteX6" fmla="*/ 364775 w 494985"/>
                  <a:gd name="connsiteY6" fmla="*/ 1062739 h 1119930"/>
                  <a:gd name="connsiteX7" fmla="*/ 326675 w 494985"/>
                  <a:gd name="connsiteY7" fmla="*/ 1119889 h 1119930"/>
                  <a:gd name="connsiteX8" fmla="*/ 150463 w 494985"/>
                  <a:gd name="connsiteY8" fmla="*/ 1053215 h 1119930"/>
                  <a:gd name="connsiteX9" fmla="*/ 28501 w 494985"/>
                  <a:gd name="connsiteY9" fmla="*/ 1035486 h 1119930"/>
                  <a:gd name="connsiteX10" fmla="*/ 0 w 494985"/>
                  <a:gd name="connsiteY10" fmla="*/ 1006985 h 1119930"/>
                  <a:gd name="connsiteX11" fmla="*/ 0 w 494985"/>
                  <a:gd name="connsiteY11" fmla="*/ 28501 h 1119930"/>
                  <a:gd name="connsiteX0" fmla="*/ 0 w 494985"/>
                  <a:gd name="connsiteY0" fmla="*/ 28501 h 1120193"/>
                  <a:gd name="connsiteX1" fmla="*/ 28501 w 494985"/>
                  <a:gd name="connsiteY1" fmla="*/ 0 h 1120193"/>
                  <a:gd name="connsiteX2" fmla="*/ 466484 w 494985"/>
                  <a:gd name="connsiteY2" fmla="*/ 0 h 1120193"/>
                  <a:gd name="connsiteX3" fmla="*/ 494985 w 494985"/>
                  <a:gd name="connsiteY3" fmla="*/ 28501 h 1120193"/>
                  <a:gd name="connsiteX4" fmla="*/ 494985 w 494985"/>
                  <a:gd name="connsiteY4" fmla="*/ 1006985 h 1120193"/>
                  <a:gd name="connsiteX5" fmla="*/ 466484 w 494985"/>
                  <a:gd name="connsiteY5" fmla="*/ 1035486 h 1120193"/>
                  <a:gd name="connsiteX6" fmla="*/ 364775 w 494985"/>
                  <a:gd name="connsiteY6" fmla="*/ 1062739 h 1120193"/>
                  <a:gd name="connsiteX7" fmla="*/ 326675 w 494985"/>
                  <a:gd name="connsiteY7" fmla="*/ 1119889 h 1120193"/>
                  <a:gd name="connsiteX8" fmla="*/ 28501 w 494985"/>
                  <a:gd name="connsiteY8" fmla="*/ 1035486 h 1120193"/>
                  <a:gd name="connsiteX9" fmla="*/ 0 w 494985"/>
                  <a:gd name="connsiteY9" fmla="*/ 1006985 h 1120193"/>
                  <a:gd name="connsiteX10" fmla="*/ 0 w 494985"/>
                  <a:gd name="connsiteY10" fmla="*/ 28501 h 1120193"/>
                  <a:gd name="connsiteX0" fmla="*/ 0 w 494985"/>
                  <a:gd name="connsiteY0" fmla="*/ 28501 h 1062739"/>
                  <a:gd name="connsiteX1" fmla="*/ 28501 w 494985"/>
                  <a:gd name="connsiteY1" fmla="*/ 0 h 1062739"/>
                  <a:gd name="connsiteX2" fmla="*/ 466484 w 494985"/>
                  <a:gd name="connsiteY2" fmla="*/ 0 h 1062739"/>
                  <a:gd name="connsiteX3" fmla="*/ 494985 w 494985"/>
                  <a:gd name="connsiteY3" fmla="*/ 28501 h 1062739"/>
                  <a:gd name="connsiteX4" fmla="*/ 494985 w 494985"/>
                  <a:gd name="connsiteY4" fmla="*/ 1006985 h 1062739"/>
                  <a:gd name="connsiteX5" fmla="*/ 466484 w 494985"/>
                  <a:gd name="connsiteY5" fmla="*/ 1035486 h 1062739"/>
                  <a:gd name="connsiteX6" fmla="*/ 364775 w 494985"/>
                  <a:gd name="connsiteY6" fmla="*/ 1062739 h 1062739"/>
                  <a:gd name="connsiteX7" fmla="*/ 28501 w 494985"/>
                  <a:gd name="connsiteY7" fmla="*/ 1035486 h 1062739"/>
                  <a:gd name="connsiteX8" fmla="*/ 0 w 494985"/>
                  <a:gd name="connsiteY8" fmla="*/ 1006985 h 1062739"/>
                  <a:gd name="connsiteX9" fmla="*/ 0 w 494985"/>
                  <a:gd name="connsiteY9" fmla="*/ 28501 h 1062739"/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038340"/>
                  <a:gd name="connsiteX1" fmla="*/ 28501 w 494985"/>
                  <a:gd name="connsiteY1" fmla="*/ 0 h 1038340"/>
                  <a:gd name="connsiteX2" fmla="*/ 466484 w 494985"/>
                  <a:gd name="connsiteY2" fmla="*/ 0 h 1038340"/>
                  <a:gd name="connsiteX3" fmla="*/ 494985 w 494985"/>
                  <a:gd name="connsiteY3" fmla="*/ 28501 h 1038340"/>
                  <a:gd name="connsiteX4" fmla="*/ 494985 w 494985"/>
                  <a:gd name="connsiteY4" fmla="*/ 1006985 h 1038340"/>
                  <a:gd name="connsiteX5" fmla="*/ 466484 w 494985"/>
                  <a:gd name="connsiteY5" fmla="*/ 1035486 h 1038340"/>
                  <a:gd name="connsiteX6" fmla="*/ 153637 w 494985"/>
                  <a:gd name="connsiteY6" fmla="*/ 1037339 h 1038340"/>
                  <a:gd name="connsiteX7" fmla="*/ 28501 w 494985"/>
                  <a:gd name="connsiteY7" fmla="*/ 1035486 h 1038340"/>
                  <a:gd name="connsiteX8" fmla="*/ 0 w 494985"/>
                  <a:gd name="connsiteY8" fmla="*/ 1006985 h 1038340"/>
                  <a:gd name="connsiteX9" fmla="*/ 0 w 494985"/>
                  <a:gd name="connsiteY9" fmla="*/ 28501 h 1038340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274287 w 494985"/>
                  <a:gd name="connsiteY6" fmla="*/ 1037339 h 1038241"/>
                  <a:gd name="connsiteX7" fmla="*/ 153637 w 494985"/>
                  <a:gd name="connsiteY7" fmla="*/ 1037339 h 1038241"/>
                  <a:gd name="connsiteX8" fmla="*/ 28501 w 494985"/>
                  <a:gd name="connsiteY8" fmla="*/ 1035486 h 1038241"/>
                  <a:gd name="connsiteX9" fmla="*/ 0 w 494985"/>
                  <a:gd name="connsiteY9" fmla="*/ 1006985 h 1038241"/>
                  <a:gd name="connsiteX10" fmla="*/ 0 w 494985"/>
                  <a:gd name="connsiteY10" fmla="*/ 28501 h 1038241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369537 w 494985"/>
                  <a:gd name="connsiteY6" fmla="*/ 1030990 h 1038241"/>
                  <a:gd name="connsiteX7" fmla="*/ 274287 w 494985"/>
                  <a:gd name="connsiteY7" fmla="*/ 1037339 h 1038241"/>
                  <a:gd name="connsiteX8" fmla="*/ 153637 w 494985"/>
                  <a:gd name="connsiteY8" fmla="*/ 1037339 h 1038241"/>
                  <a:gd name="connsiteX9" fmla="*/ 28501 w 494985"/>
                  <a:gd name="connsiteY9" fmla="*/ 1035486 h 1038241"/>
                  <a:gd name="connsiteX10" fmla="*/ 0 w 494985"/>
                  <a:gd name="connsiteY10" fmla="*/ 1006985 h 1038241"/>
                  <a:gd name="connsiteX11" fmla="*/ 0 w 494985"/>
                  <a:gd name="connsiteY11" fmla="*/ 28501 h 1038241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0373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1008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7605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0461 w 494985"/>
                  <a:gd name="connsiteY8" fmla="*/ 1040514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57"/>
                  <a:gd name="connsiteX1" fmla="*/ 28501 w 494985"/>
                  <a:gd name="connsiteY1" fmla="*/ 0 h 1100857"/>
                  <a:gd name="connsiteX2" fmla="*/ 466484 w 494985"/>
                  <a:gd name="connsiteY2" fmla="*/ 0 h 1100857"/>
                  <a:gd name="connsiteX3" fmla="*/ 494985 w 494985"/>
                  <a:gd name="connsiteY3" fmla="*/ 28501 h 1100857"/>
                  <a:gd name="connsiteX4" fmla="*/ 494985 w 494985"/>
                  <a:gd name="connsiteY4" fmla="*/ 1006985 h 1100857"/>
                  <a:gd name="connsiteX5" fmla="*/ 466484 w 494985"/>
                  <a:gd name="connsiteY5" fmla="*/ 1035486 h 1100857"/>
                  <a:gd name="connsiteX6" fmla="*/ 369537 w 494985"/>
                  <a:gd name="connsiteY6" fmla="*/ 1030990 h 1100857"/>
                  <a:gd name="connsiteX7" fmla="*/ 198087 w 494985"/>
                  <a:gd name="connsiteY7" fmla="*/ 1100839 h 1100857"/>
                  <a:gd name="connsiteX8" fmla="*/ 148080 w 494985"/>
                  <a:gd name="connsiteY8" fmla="*/ 1033370 h 1100857"/>
                  <a:gd name="connsiteX9" fmla="*/ 28501 w 494985"/>
                  <a:gd name="connsiteY9" fmla="*/ 1035486 h 1100857"/>
                  <a:gd name="connsiteX10" fmla="*/ 0 w 494985"/>
                  <a:gd name="connsiteY10" fmla="*/ 1006985 h 1100857"/>
                  <a:gd name="connsiteX11" fmla="*/ 0 w 494985"/>
                  <a:gd name="connsiteY11" fmla="*/ 28501 h 1100857"/>
                  <a:gd name="connsiteX0" fmla="*/ 0 w 494985"/>
                  <a:gd name="connsiteY0" fmla="*/ 28501 h 1101187"/>
                  <a:gd name="connsiteX1" fmla="*/ 28501 w 494985"/>
                  <a:gd name="connsiteY1" fmla="*/ 0 h 1101187"/>
                  <a:gd name="connsiteX2" fmla="*/ 466484 w 494985"/>
                  <a:gd name="connsiteY2" fmla="*/ 0 h 1101187"/>
                  <a:gd name="connsiteX3" fmla="*/ 494985 w 494985"/>
                  <a:gd name="connsiteY3" fmla="*/ 28501 h 1101187"/>
                  <a:gd name="connsiteX4" fmla="*/ 494985 w 494985"/>
                  <a:gd name="connsiteY4" fmla="*/ 1006985 h 1101187"/>
                  <a:gd name="connsiteX5" fmla="*/ 466484 w 494985"/>
                  <a:gd name="connsiteY5" fmla="*/ 1035486 h 1101187"/>
                  <a:gd name="connsiteX6" fmla="*/ 369537 w 494985"/>
                  <a:gd name="connsiteY6" fmla="*/ 1030990 h 1101187"/>
                  <a:gd name="connsiteX7" fmla="*/ 198087 w 494985"/>
                  <a:gd name="connsiteY7" fmla="*/ 1100839 h 1101187"/>
                  <a:gd name="connsiteX8" fmla="*/ 148080 w 494985"/>
                  <a:gd name="connsiteY8" fmla="*/ 1033370 h 1101187"/>
                  <a:gd name="connsiteX9" fmla="*/ 28501 w 494985"/>
                  <a:gd name="connsiteY9" fmla="*/ 1035486 h 1101187"/>
                  <a:gd name="connsiteX10" fmla="*/ 0 w 494985"/>
                  <a:gd name="connsiteY10" fmla="*/ 1006985 h 1101187"/>
                  <a:gd name="connsiteX11" fmla="*/ 0 w 494985"/>
                  <a:gd name="connsiteY11" fmla="*/ 28501 h 1101187"/>
                  <a:gd name="connsiteX0" fmla="*/ 0 w 494985"/>
                  <a:gd name="connsiteY0" fmla="*/ 28501 h 1101096"/>
                  <a:gd name="connsiteX1" fmla="*/ 28501 w 494985"/>
                  <a:gd name="connsiteY1" fmla="*/ 0 h 1101096"/>
                  <a:gd name="connsiteX2" fmla="*/ 466484 w 494985"/>
                  <a:gd name="connsiteY2" fmla="*/ 0 h 1101096"/>
                  <a:gd name="connsiteX3" fmla="*/ 494985 w 494985"/>
                  <a:gd name="connsiteY3" fmla="*/ 28501 h 1101096"/>
                  <a:gd name="connsiteX4" fmla="*/ 494985 w 494985"/>
                  <a:gd name="connsiteY4" fmla="*/ 1006985 h 1101096"/>
                  <a:gd name="connsiteX5" fmla="*/ 466484 w 494985"/>
                  <a:gd name="connsiteY5" fmla="*/ 1035486 h 1101096"/>
                  <a:gd name="connsiteX6" fmla="*/ 369537 w 494985"/>
                  <a:gd name="connsiteY6" fmla="*/ 1030990 h 1101096"/>
                  <a:gd name="connsiteX7" fmla="*/ 290956 w 494985"/>
                  <a:gd name="connsiteY7" fmla="*/ 1055596 h 1101096"/>
                  <a:gd name="connsiteX8" fmla="*/ 198087 w 494985"/>
                  <a:gd name="connsiteY8" fmla="*/ 1100839 h 1101096"/>
                  <a:gd name="connsiteX9" fmla="*/ 148080 w 494985"/>
                  <a:gd name="connsiteY9" fmla="*/ 1033370 h 1101096"/>
                  <a:gd name="connsiteX10" fmla="*/ 28501 w 494985"/>
                  <a:gd name="connsiteY10" fmla="*/ 1035486 h 1101096"/>
                  <a:gd name="connsiteX11" fmla="*/ 0 w 494985"/>
                  <a:gd name="connsiteY11" fmla="*/ 1006985 h 1101096"/>
                  <a:gd name="connsiteX12" fmla="*/ 0 w 494985"/>
                  <a:gd name="connsiteY12" fmla="*/ 28501 h 1101096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6321"/>
                  <a:gd name="connsiteX1" fmla="*/ 28501 w 494985"/>
                  <a:gd name="connsiteY1" fmla="*/ 0 h 1106321"/>
                  <a:gd name="connsiteX2" fmla="*/ 466484 w 494985"/>
                  <a:gd name="connsiteY2" fmla="*/ 0 h 1106321"/>
                  <a:gd name="connsiteX3" fmla="*/ 494985 w 494985"/>
                  <a:gd name="connsiteY3" fmla="*/ 28501 h 1106321"/>
                  <a:gd name="connsiteX4" fmla="*/ 494985 w 494985"/>
                  <a:gd name="connsiteY4" fmla="*/ 1006985 h 1106321"/>
                  <a:gd name="connsiteX5" fmla="*/ 466484 w 494985"/>
                  <a:gd name="connsiteY5" fmla="*/ 1035486 h 1106321"/>
                  <a:gd name="connsiteX6" fmla="*/ 371918 w 494985"/>
                  <a:gd name="connsiteY6" fmla="*/ 1041471 h 1106321"/>
                  <a:gd name="connsiteX7" fmla="*/ 305243 w 494985"/>
                  <a:gd name="connsiteY7" fmla="*/ 1106317 h 1106321"/>
                  <a:gd name="connsiteX8" fmla="*/ 198087 w 494985"/>
                  <a:gd name="connsiteY8" fmla="*/ 1100839 h 1106321"/>
                  <a:gd name="connsiteX9" fmla="*/ 150462 w 494985"/>
                  <a:gd name="connsiteY9" fmla="*/ 1038611 h 1106321"/>
                  <a:gd name="connsiteX10" fmla="*/ 28501 w 494985"/>
                  <a:gd name="connsiteY10" fmla="*/ 1035486 h 1106321"/>
                  <a:gd name="connsiteX11" fmla="*/ 0 w 494985"/>
                  <a:gd name="connsiteY11" fmla="*/ 1006985 h 1106321"/>
                  <a:gd name="connsiteX12" fmla="*/ 0 w 494985"/>
                  <a:gd name="connsiteY12" fmla="*/ 28501 h 1106321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0462 w 494985"/>
                  <a:gd name="connsiteY9" fmla="*/ 103861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79037 w 494985"/>
                  <a:gd name="connsiteY9" fmla="*/ 10359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153278 w 494985"/>
                  <a:gd name="connsiteY10" fmla="*/ 1037850 h 1102488"/>
                  <a:gd name="connsiteX11" fmla="*/ 28501 w 494985"/>
                  <a:gd name="connsiteY11" fmla="*/ 1035486 h 1102488"/>
                  <a:gd name="connsiteX12" fmla="*/ 0 w 494985"/>
                  <a:gd name="connsiteY12" fmla="*/ 1006985 h 1102488"/>
                  <a:gd name="connsiteX13" fmla="*/ 0 w 494985"/>
                  <a:gd name="connsiteY13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3278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3654"/>
                  <a:gd name="connsiteX1" fmla="*/ 28501 w 494985"/>
                  <a:gd name="connsiteY1" fmla="*/ 0 h 1103654"/>
                  <a:gd name="connsiteX2" fmla="*/ 466484 w 494985"/>
                  <a:gd name="connsiteY2" fmla="*/ 0 h 1103654"/>
                  <a:gd name="connsiteX3" fmla="*/ 494985 w 494985"/>
                  <a:gd name="connsiteY3" fmla="*/ 28501 h 1103654"/>
                  <a:gd name="connsiteX4" fmla="*/ 494985 w 494985"/>
                  <a:gd name="connsiteY4" fmla="*/ 1006985 h 1103654"/>
                  <a:gd name="connsiteX5" fmla="*/ 466484 w 494985"/>
                  <a:gd name="connsiteY5" fmla="*/ 1035486 h 1103654"/>
                  <a:gd name="connsiteX6" fmla="*/ 371918 w 494985"/>
                  <a:gd name="connsiteY6" fmla="*/ 1041471 h 1103654"/>
                  <a:gd name="connsiteX7" fmla="*/ 307624 w 494985"/>
                  <a:gd name="connsiteY7" fmla="*/ 1101077 h 1103654"/>
                  <a:gd name="connsiteX8" fmla="*/ 198087 w 494985"/>
                  <a:gd name="connsiteY8" fmla="*/ 1100839 h 1103654"/>
                  <a:gd name="connsiteX9" fmla="*/ 136609 w 494985"/>
                  <a:gd name="connsiteY9" fmla="*/ 1037850 h 1103654"/>
                  <a:gd name="connsiteX10" fmla="*/ 28501 w 494985"/>
                  <a:gd name="connsiteY10" fmla="*/ 1035486 h 1103654"/>
                  <a:gd name="connsiteX11" fmla="*/ 0 w 494985"/>
                  <a:gd name="connsiteY11" fmla="*/ 1006985 h 1103654"/>
                  <a:gd name="connsiteX12" fmla="*/ 0 w 494985"/>
                  <a:gd name="connsiteY12" fmla="*/ 28501 h 1103654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6240"/>
                  <a:gd name="connsiteX1" fmla="*/ 28501 w 494985"/>
                  <a:gd name="connsiteY1" fmla="*/ 0 h 1106240"/>
                  <a:gd name="connsiteX2" fmla="*/ 466484 w 494985"/>
                  <a:gd name="connsiteY2" fmla="*/ 0 h 1106240"/>
                  <a:gd name="connsiteX3" fmla="*/ 494985 w 494985"/>
                  <a:gd name="connsiteY3" fmla="*/ 28501 h 1106240"/>
                  <a:gd name="connsiteX4" fmla="*/ 494985 w 494985"/>
                  <a:gd name="connsiteY4" fmla="*/ 1006985 h 1106240"/>
                  <a:gd name="connsiteX5" fmla="*/ 466484 w 494985"/>
                  <a:gd name="connsiteY5" fmla="*/ 1035486 h 1106240"/>
                  <a:gd name="connsiteX6" fmla="*/ 369537 w 494985"/>
                  <a:gd name="connsiteY6" fmla="*/ 1033611 h 1106240"/>
                  <a:gd name="connsiteX7" fmla="*/ 307624 w 494985"/>
                  <a:gd name="connsiteY7" fmla="*/ 1101077 h 1106240"/>
                  <a:gd name="connsiteX8" fmla="*/ 198087 w 494985"/>
                  <a:gd name="connsiteY8" fmla="*/ 1100839 h 1106240"/>
                  <a:gd name="connsiteX9" fmla="*/ 158041 w 494985"/>
                  <a:gd name="connsiteY9" fmla="*/ 1035229 h 1106240"/>
                  <a:gd name="connsiteX10" fmla="*/ 28501 w 494985"/>
                  <a:gd name="connsiteY10" fmla="*/ 1035486 h 1106240"/>
                  <a:gd name="connsiteX11" fmla="*/ 0 w 494985"/>
                  <a:gd name="connsiteY11" fmla="*/ 1006985 h 1106240"/>
                  <a:gd name="connsiteX12" fmla="*/ 0 w 494985"/>
                  <a:gd name="connsiteY12" fmla="*/ 28501 h 1106240"/>
                  <a:gd name="connsiteX0" fmla="*/ 0 w 494985"/>
                  <a:gd name="connsiteY0" fmla="*/ 28501 h 1105659"/>
                  <a:gd name="connsiteX1" fmla="*/ 28501 w 494985"/>
                  <a:gd name="connsiteY1" fmla="*/ 0 h 1105659"/>
                  <a:gd name="connsiteX2" fmla="*/ 466484 w 494985"/>
                  <a:gd name="connsiteY2" fmla="*/ 0 h 1105659"/>
                  <a:gd name="connsiteX3" fmla="*/ 494985 w 494985"/>
                  <a:gd name="connsiteY3" fmla="*/ 28501 h 1105659"/>
                  <a:gd name="connsiteX4" fmla="*/ 494985 w 494985"/>
                  <a:gd name="connsiteY4" fmla="*/ 1006985 h 1105659"/>
                  <a:gd name="connsiteX5" fmla="*/ 466484 w 494985"/>
                  <a:gd name="connsiteY5" fmla="*/ 1035486 h 1105659"/>
                  <a:gd name="connsiteX6" fmla="*/ 371918 w 494985"/>
                  <a:gd name="connsiteY6" fmla="*/ 1041470 h 1105659"/>
                  <a:gd name="connsiteX7" fmla="*/ 307624 w 494985"/>
                  <a:gd name="connsiteY7" fmla="*/ 1101077 h 1105659"/>
                  <a:gd name="connsiteX8" fmla="*/ 198087 w 494985"/>
                  <a:gd name="connsiteY8" fmla="*/ 1100839 h 1105659"/>
                  <a:gd name="connsiteX9" fmla="*/ 158041 w 494985"/>
                  <a:gd name="connsiteY9" fmla="*/ 1035229 h 1105659"/>
                  <a:gd name="connsiteX10" fmla="*/ 28501 w 494985"/>
                  <a:gd name="connsiteY10" fmla="*/ 1035486 h 1105659"/>
                  <a:gd name="connsiteX11" fmla="*/ 0 w 494985"/>
                  <a:gd name="connsiteY11" fmla="*/ 1006985 h 1105659"/>
                  <a:gd name="connsiteX12" fmla="*/ 0 w 494985"/>
                  <a:gd name="connsiteY12" fmla="*/ 28501 h 1105659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4264"/>
                  <a:gd name="connsiteX1" fmla="*/ 28501 w 494985"/>
                  <a:gd name="connsiteY1" fmla="*/ 0 h 1104264"/>
                  <a:gd name="connsiteX2" fmla="*/ 466484 w 494985"/>
                  <a:gd name="connsiteY2" fmla="*/ 0 h 1104264"/>
                  <a:gd name="connsiteX3" fmla="*/ 494985 w 494985"/>
                  <a:gd name="connsiteY3" fmla="*/ 28501 h 1104264"/>
                  <a:gd name="connsiteX4" fmla="*/ 494985 w 494985"/>
                  <a:gd name="connsiteY4" fmla="*/ 1006985 h 1104264"/>
                  <a:gd name="connsiteX5" fmla="*/ 466484 w 494985"/>
                  <a:gd name="connsiteY5" fmla="*/ 1035486 h 1104264"/>
                  <a:gd name="connsiteX6" fmla="*/ 364775 w 494985"/>
                  <a:gd name="connsiteY6" fmla="*/ 1036230 h 1104264"/>
                  <a:gd name="connsiteX7" fmla="*/ 312387 w 494985"/>
                  <a:gd name="connsiteY7" fmla="*/ 1098457 h 1104264"/>
                  <a:gd name="connsiteX8" fmla="*/ 198087 w 494985"/>
                  <a:gd name="connsiteY8" fmla="*/ 1100839 h 1104264"/>
                  <a:gd name="connsiteX9" fmla="*/ 158041 w 494985"/>
                  <a:gd name="connsiteY9" fmla="*/ 1035229 h 1104264"/>
                  <a:gd name="connsiteX10" fmla="*/ 28501 w 494985"/>
                  <a:gd name="connsiteY10" fmla="*/ 1035486 h 1104264"/>
                  <a:gd name="connsiteX11" fmla="*/ 0 w 494985"/>
                  <a:gd name="connsiteY11" fmla="*/ 1006985 h 1104264"/>
                  <a:gd name="connsiteX12" fmla="*/ 0 w 494985"/>
                  <a:gd name="connsiteY12" fmla="*/ 28501 h 1104264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312387 w 494985"/>
                  <a:gd name="connsiteY7" fmla="*/ 1098457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198087 w 494985"/>
                  <a:gd name="connsiteY7" fmla="*/ 1100839 h 1100839"/>
                  <a:gd name="connsiteX8" fmla="*/ 158041 w 494985"/>
                  <a:gd name="connsiteY8" fmla="*/ 1035229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289009 w 494985"/>
                  <a:gd name="connsiteY7" fmla="*/ 1064051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64775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52869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40962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13832"/>
                  <a:gd name="connsiteX1" fmla="*/ 28501 w 494985"/>
                  <a:gd name="connsiteY1" fmla="*/ 0 h 1113832"/>
                  <a:gd name="connsiteX2" fmla="*/ 466484 w 494985"/>
                  <a:gd name="connsiteY2" fmla="*/ 0 h 1113832"/>
                  <a:gd name="connsiteX3" fmla="*/ 494985 w 494985"/>
                  <a:gd name="connsiteY3" fmla="*/ 28501 h 1113832"/>
                  <a:gd name="connsiteX4" fmla="*/ 494985 w 494985"/>
                  <a:gd name="connsiteY4" fmla="*/ 1006985 h 1113832"/>
                  <a:gd name="connsiteX5" fmla="*/ 466484 w 494985"/>
                  <a:gd name="connsiteY5" fmla="*/ 1035486 h 1113832"/>
                  <a:gd name="connsiteX6" fmla="*/ 340962 w 494985"/>
                  <a:gd name="connsiteY6" fmla="*/ 1036230 h 1113832"/>
                  <a:gd name="connsiteX7" fmla="*/ 293772 w 494985"/>
                  <a:gd name="connsiteY7" fmla="*/ 1113832 h 1113832"/>
                  <a:gd name="connsiteX8" fmla="*/ 200469 w 494985"/>
                  <a:gd name="connsiteY8" fmla="*/ 1108699 h 1113832"/>
                  <a:gd name="connsiteX9" fmla="*/ 158041 w 494985"/>
                  <a:gd name="connsiteY9" fmla="*/ 1035229 h 1113832"/>
                  <a:gd name="connsiteX10" fmla="*/ 28501 w 494985"/>
                  <a:gd name="connsiteY10" fmla="*/ 1035486 h 1113832"/>
                  <a:gd name="connsiteX11" fmla="*/ 0 w 494985"/>
                  <a:gd name="connsiteY11" fmla="*/ 1006985 h 1113832"/>
                  <a:gd name="connsiteX12" fmla="*/ 0 w 494985"/>
                  <a:gd name="connsiteY12" fmla="*/ 28501 h 111383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305679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4985" h="1108699">
                    <a:moveTo>
                      <a:pt x="0" y="28501"/>
                    </a:moveTo>
                    <a:cubicBezTo>
                      <a:pt x="0" y="12760"/>
                      <a:pt x="12760" y="0"/>
                      <a:pt x="28501" y="0"/>
                    </a:cubicBezTo>
                    <a:lnTo>
                      <a:pt x="466484" y="0"/>
                    </a:lnTo>
                    <a:cubicBezTo>
                      <a:pt x="482225" y="0"/>
                      <a:pt x="494985" y="12760"/>
                      <a:pt x="494985" y="28501"/>
                    </a:cubicBezTo>
                    <a:lnTo>
                      <a:pt x="494985" y="1006985"/>
                    </a:lnTo>
                    <a:cubicBezTo>
                      <a:pt x="494985" y="1022726"/>
                      <a:pt x="482225" y="1035486"/>
                      <a:pt x="466484" y="1035486"/>
                    </a:cubicBezTo>
                    <a:lnTo>
                      <a:pt x="340962" y="1036230"/>
                    </a:lnTo>
                    <a:lnTo>
                      <a:pt x="305679" y="1108591"/>
                    </a:lnTo>
                    <a:lnTo>
                      <a:pt x="186182" y="1108699"/>
                    </a:lnTo>
                    <a:lnTo>
                      <a:pt x="158041" y="1035229"/>
                    </a:lnTo>
                    <a:lnTo>
                      <a:pt x="28501" y="1035486"/>
                    </a:lnTo>
                    <a:cubicBezTo>
                      <a:pt x="12760" y="1035486"/>
                      <a:pt x="0" y="1022726"/>
                      <a:pt x="0" y="1006985"/>
                    </a:cubicBezTo>
                    <a:lnTo>
                      <a:pt x="0" y="28501"/>
                    </a:lnTo>
                    <a:close/>
                  </a:path>
                </a:pathLst>
              </a:custGeom>
              <a:solidFill>
                <a:srgbClr val="00827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8288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SQL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Hive/Tez, HCatalog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  <p:sp>
            <p:nvSpPr>
              <p:cNvPr id="21" name="Rounded Rectangle 37"/>
              <p:cNvSpPr>
                <a:spLocks/>
              </p:cNvSpPr>
              <p:nvPr/>
            </p:nvSpPr>
            <p:spPr>
              <a:xfrm>
                <a:off x="4629064" y="4443822"/>
                <a:ext cx="548640" cy="817853"/>
              </a:xfrm>
              <a:custGeom>
                <a:avLst/>
                <a:gdLst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100841"/>
                  <a:gd name="connsiteX1" fmla="*/ 28501 w 494985"/>
                  <a:gd name="connsiteY1" fmla="*/ 0 h 1100841"/>
                  <a:gd name="connsiteX2" fmla="*/ 466484 w 494985"/>
                  <a:gd name="connsiteY2" fmla="*/ 0 h 1100841"/>
                  <a:gd name="connsiteX3" fmla="*/ 494985 w 494985"/>
                  <a:gd name="connsiteY3" fmla="*/ 28501 h 1100841"/>
                  <a:gd name="connsiteX4" fmla="*/ 494985 w 494985"/>
                  <a:gd name="connsiteY4" fmla="*/ 1006985 h 1100841"/>
                  <a:gd name="connsiteX5" fmla="*/ 466484 w 494985"/>
                  <a:gd name="connsiteY5" fmla="*/ 1035486 h 1100841"/>
                  <a:gd name="connsiteX6" fmla="*/ 202850 w 494985"/>
                  <a:gd name="connsiteY6" fmla="*/ 1100839 h 1100841"/>
                  <a:gd name="connsiteX7" fmla="*/ 28501 w 494985"/>
                  <a:gd name="connsiteY7" fmla="*/ 1035486 h 1100841"/>
                  <a:gd name="connsiteX8" fmla="*/ 0 w 494985"/>
                  <a:gd name="connsiteY8" fmla="*/ 1006985 h 1100841"/>
                  <a:gd name="connsiteX9" fmla="*/ 0 w 494985"/>
                  <a:gd name="connsiteY9" fmla="*/ 28501 h 1100841"/>
                  <a:gd name="connsiteX0" fmla="*/ 0 w 494985"/>
                  <a:gd name="connsiteY0" fmla="*/ 28501 h 1122703"/>
                  <a:gd name="connsiteX1" fmla="*/ 28501 w 494985"/>
                  <a:gd name="connsiteY1" fmla="*/ 0 h 1122703"/>
                  <a:gd name="connsiteX2" fmla="*/ 466484 w 494985"/>
                  <a:gd name="connsiteY2" fmla="*/ 0 h 1122703"/>
                  <a:gd name="connsiteX3" fmla="*/ 494985 w 494985"/>
                  <a:gd name="connsiteY3" fmla="*/ 28501 h 1122703"/>
                  <a:gd name="connsiteX4" fmla="*/ 494985 w 494985"/>
                  <a:gd name="connsiteY4" fmla="*/ 1006985 h 1122703"/>
                  <a:gd name="connsiteX5" fmla="*/ 466484 w 494985"/>
                  <a:gd name="connsiteY5" fmla="*/ 1035486 h 1122703"/>
                  <a:gd name="connsiteX6" fmla="*/ 326675 w 494985"/>
                  <a:gd name="connsiteY6" fmla="*/ 1119889 h 1122703"/>
                  <a:gd name="connsiteX7" fmla="*/ 202850 w 494985"/>
                  <a:gd name="connsiteY7" fmla="*/ 1100839 h 1122703"/>
                  <a:gd name="connsiteX8" fmla="*/ 28501 w 494985"/>
                  <a:gd name="connsiteY8" fmla="*/ 1035486 h 1122703"/>
                  <a:gd name="connsiteX9" fmla="*/ 0 w 494985"/>
                  <a:gd name="connsiteY9" fmla="*/ 1006985 h 1122703"/>
                  <a:gd name="connsiteX10" fmla="*/ 0 w 494985"/>
                  <a:gd name="connsiteY10" fmla="*/ 28501 h 1122703"/>
                  <a:gd name="connsiteX0" fmla="*/ 0 w 494985"/>
                  <a:gd name="connsiteY0" fmla="*/ 28501 h 1120138"/>
                  <a:gd name="connsiteX1" fmla="*/ 28501 w 494985"/>
                  <a:gd name="connsiteY1" fmla="*/ 0 h 1120138"/>
                  <a:gd name="connsiteX2" fmla="*/ 466484 w 494985"/>
                  <a:gd name="connsiteY2" fmla="*/ 0 h 1120138"/>
                  <a:gd name="connsiteX3" fmla="*/ 494985 w 494985"/>
                  <a:gd name="connsiteY3" fmla="*/ 28501 h 1120138"/>
                  <a:gd name="connsiteX4" fmla="*/ 494985 w 494985"/>
                  <a:gd name="connsiteY4" fmla="*/ 1006985 h 1120138"/>
                  <a:gd name="connsiteX5" fmla="*/ 466484 w 494985"/>
                  <a:gd name="connsiteY5" fmla="*/ 1035486 h 1120138"/>
                  <a:gd name="connsiteX6" fmla="*/ 364775 w 494985"/>
                  <a:gd name="connsiteY6" fmla="*/ 1062739 h 1120138"/>
                  <a:gd name="connsiteX7" fmla="*/ 326675 w 494985"/>
                  <a:gd name="connsiteY7" fmla="*/ 1119889 h 1120138"/>
                  <a:gd name="connsiteX8" fmla="*/ 202850 w 494985"/>
                  <a:gd name="connsiteY8" fmla="*/ 1100839 h 1120138"/>
                  <a:gd name="connsiteX9" fmla="*/ 28501 w 494985"/>
                  <a:gd name="connsiteY9" fmla="*/ 1035486 h 1120138"/>
                  <a:gd name="connsiteX10" fmla="*/ 0 w 494985"/>
                  <a:gd name="connsiteY10" fmla="*/ 1006985 h 1120138"/>
                  <a:gd name="connsiteX11" fmla="*/ 0 w 494985"/>
                  <a:gd name="connsiteY11" fmla="*/ 28501 h 1120138"/>
                  <a:gd name="connsiteX0" fmla="*/ 0 w 494985"/>
                  <a:gd name="connsiteY0" fmla="*/ 28501 h 1126828"/>
                  <a:gd name="connsiteX1" fmla="*/ 28501 w 494985"/>
                  <a:gd name="connsiteY1" fmla="*/ 0 h 1126828"/>
                  <a:gd name="connsiteX2" fmla="*/ 466484 w 494985"/>
                  <a:gd name="connsiteY2" fmla="*/ 0 h 1126828"/>
                  <a:gd name="connsiteX3" fmla="*/ 494985 w 494985"/>
                  <a:gd name="connsiteY3" fmla="*/ 28501 h 1126828"/>
                  <a:gd name="connsiteX4" fmla="*/ 494985 w 494985"/>
                  <a:gd name="connsiteY4" fmla="*/ 1006985 h 1126828"/>
                  <a:gd name="connsiteX5" fmla="*/ 466484 w 494985"/>
                  <a:gd name="connsiteY5" fmla="*/ 1035486 h 1126828"/>
                  <a:gd name="connsiteX6" fmla="*/ 364775 w 494985"/>
                  <a:gd name="connsiteY6" fmla="*/ 1062739 h 1126828"/>
                  <a:gd name="connsiteX7" fmla="*/ 326675 w 494985"/>
                  <a:gd name="connsiteY7" fmla="*/ 1119889 h 1126828"/>
                  <a:gd name="connsiteX8" fmla="*/ 212375 w 494985"/>
                  <a:gd name="connsiteY8" fmla="*/ 1124651 h 1126828"/>
                  <a:gd name="connsiteX9" fmla="*/ 28501 w 494985"/>
                  <a:gd name="connsiteY9" fmla="*/ 1035486 h 1126828"/>
                  <a:gd name="connsiteX10" fmla="*/ 0 w 494985"/>
                  <a:gd name="connsiteY10" fmla="*/ 1006985 h 1126828"/>
                  <a:gd name="connsiteX11" fmla="*/ 0 w 494985"/>
                  <a:gd name="connsiteY11" fmla="*/ 28501 h 1126828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19930"/>
                  <a:gd name="connsiteX1" fmla="*/ 28501 w 494985"/>
                  <a:gd name="connsiteY1" fmla="*/ 0 h 1119930"/>
                  <a:gd name="connsiteX2" fmla="*/ 466484 w 494985"/>
                  <a:gd name="connsiteY2" fmla="*/ 0 h 1119930"/>
                  <a:gd name="connsiteX3" fmla="*/ 494985 w 494985"/>
                  <a:gd name="connsiteY3" fmla="*/ 28501 h 1119930"/>
                  <a:gd name="connsiteX4" fmla="*/ 494985 w 494985"/>
                  <a:gd name="connsiteY4" fmla="*/ 1006985 h 1119930"/>
                  <a:gd name="connsiteX5" fmla="*/ 466484 w 494985"/>
                  <a:gd name="connsiteY5" fmla="*/ 1035486 h 1119930"/>
                  <a:gd name="connsiteX6" fmla="*/ 364775 w 494985"/>
                  <a:gd name="connsiteY6" fmla="*/ 1062739 h 1119930"/>
                  <a:gd name="connsiteX7" fmla="*/ 326675 w 494985"/>
                  <a:gd name="connsiteY7" fmla="*/ 1119889 h 1119930"/>
                  <a:gd name="connsiteX8" fmla="*/ 150463 w 494985"/>
                  <a:gd name="connsiteY8" fmla="*/ 1053215 h 1119930"/>
                  <a:gd name="connsiteX9" fmla="*/ 28501 w 494985"/>
                  <a:gd name="connsiteY9" fmla="*/ 1035486 h 1119930"/>
                  <a:gd name="connsiteX10" fmla="*/ 0 w 494985"/>
                  <a:gd name="connsiteY10" fmla="*/ 1006985 h 1119930"/>
                  <a:gd name="connsiteX11" fmla="*/ 0 w 494985"/>
                  <a:gd name="connsiteY11" fmla="*/ 28501 h 1119930"/>
                  <a:gd name="connsiteX0" fmla="*/ 0 w 494985"/>
                  <a:gd name="connsiteY0" fmla="*/ 28501 h 1120193"/>
                  <a:gd name="connsiteX1" fmla="*/ 28501 w 494985"/>
                  <a:gd name="connsiteY1" fmla="*/ 0 h 1120193"/>
                  <a:gd name="connsiteX2" fmla="*/ 466484 w 494985"/>
                  <a:gd name="connsiteY2" fmla="*/ 0 h 1120193"/>
                  <a:gd name="connsiteX3" fmla="*/ 494985 w 494985"/>
                  <a:gd name="connsiteY3" fmla="*/ 28501 h 1120193"/>
                  <a:gd name="connsiteX4" fmla="*/ 494985 w 494985"/>
                  <a:gd name="connsiteY4" fmla="*/ 1006985 h 1120193"/>
                  <a:gd name="connsiteX5" fmla="*/ 466484 w 494985"/>
                  <a:gd name="connsiteY5" fmla="*/ 1035486 h 1120193"/>
                  <a:gd name="connsiteX6" fmla="*/ 364775 w 494985"/>
                  <a:gd name="connsiteY6" fmla="*/ 1062739 h 1120193"/>
                  <a:gd name="connsiteX7" fmla="*/ 326675 w 494985"/>
                  <a:gd name="connsiteY7" fmla="*/ 1119889 h 1120193"/>
                  <a:gd name="connsiteX8" fmla="*/ 28501 w 494985"/>
                  <a:gd name="connsiteY8" fmla="*/ 1035486 h 1120193"/>
                  <a:gd name="connsiteX9" fmla="*/ 0 w 494985"/>
                  <a:gd name="connsiteY9" fmla="*/ 1006985 h 1120193"/>
                  <a:gd name="connsiteX10" fmla="*/ 0 w 494985"/>
                  <a:gd name="connsiteY10" fmla="*/ 28501 h 1120193"/>
                  <a:gd name="connsiteX0" fmla="*/ 0 w 494985"/>
                  <a:gd name="connsiteY0" fmla="*/ 28501 h 1062739"/>
                  <a:gd name="connsiteX1" fmla="*/ 28501 w 494985"/>
                  <a:gd name="connsiteY1" fmla="*/ 0 h 1062739"/>
                  <a:gd name="connsiteX2" fmla="*/ 466484 w 494985"/>
                  <a:gd name="connsiteY2" fmla="*/ 0 h 1062739"/>
                  <a:gd name="connsiteX3" fmla="*/ 494985 w 494985"/>
                  <a:gd name="connsiteY3" fmla="*/ 28501 h 1062739"/>
                  <a:gd name="connsiteX4" fmla="*/ 494985 w 494985"/>
                  <a:gd name="connsiteY4" fmla="*/ 1006985 h 1062739"/>
                  <a:gd name="connsiteX5" fmla="*/ 466484 w 494985"/>
                  <a:gd name="connsiteY5" fmla="*/ 1035486 h 1062739"/>
                  <a:gd name="connsiteX6" fmla="*/ 364775 w 494985"/>
                  <a:gd name="connsiteY6" fmla="*/ 1062739 h 1062739"/>
                  <a:gd name="connsiteX7" fmla="*/ 28501 w 494985"/>
                  <a:gd name="connsiteY7" fmla="*/ 1035486 h 1062739"/>
                  <a:gd name="connsiteX8" fmla="*/ 0 w 494985"/>
                  <a:gd name="connsiteY8" fmla="*/ 1006985 h 1062739"/>
                  <a:gd name="connsiteX9" fmla="*/ 0 w 494985"/>
                  <a:gd name="connsiteY9" fmla="*/ 28501 h 1062739"/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038340"/>
                  <a:gd name="connsiteX1" fmla="*/ 28501 w 494985"/>
                  <a:gd name="connsiteY1" fmla="*/ 0 h 1038340"/>
                  <a:gd name="connsiteX2" fmla="*/ 466484 w 494985"/>
                  <a:gd name="connsiteY2" fmla="*/ 0 h 1038340"/>
                  <a:gd name="connsiteX3" fmla="*/ 494985 w 494985"/>
                  <a:gd name="connsiteY3" fmla="*/ 28501 h 1038340"/>
                  <a:gd name="connsiteX4" fmla="*/ 494985 w 494985"/>
                  <a:gd name="connsiteY4" fmla="*/ 1006985 h 1038340"/>
                  <a:gd name="connsiteX5" fmla="*/ 466484 w 494985"/>
                  <a:gd name="connsiteY5" fmla="*/ 1035486 h 1038340"/>
                  <a:gd name="connsiteX6" fmla="*/ 153637 w 494985"/>
                  <a:gd name="connsiteY6" fmla="*/ 1037339 h 1038340"/>
                  <a:gd name="connsiteX7" fmla="*/ 28501 w 494985"/>
                  <a:gd name="connsiteY7" fmla="*/ 1035486 h 1038340"/>
                  <a:gd name="connsiteX8" fmla="*/ 0 w 494985"/>
                  <a:gd name="connsiteY8" fmla="*/ 1006985 h 1038340"/>
                  <a:gd name="connsiteX9" fmla="*/ 0 w 494985"/>
                  <a:gd name="connsiteY9" fmla="*/ 28501 h 1038340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274287 w 494985"/>
                  <a:gd name="connsiteY6" fmla="*/ 1037339 h 1038241"/>
                  <a:gd name="connsiteX7" fmla="*/ 153637 w 494985"/>
                  <a:gd name="connsiteY7" fmla="*/ 1037339 h 1038241"/>
                  <a:gd name="connsiteX8" fmla="*/ 28501 w 494985"/>
                  <a:gd name="connsiteY8" fmla="*/ 1035486 h 1038241"/>
                  <a:gd name="connsiteX9" fmla="*/ 0 w 494985"/>
                  <a:gd name="connsiteY9" fmla="*/ 1006985 h 1038241"/>
                  <a:gd name="connsiteX10" fmla="*/ 0 w 494985"/>
                  <a:gd name="connsiteY10" fmla="*/ 28501 h 1038241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369537 w 494985"/>
                  <a:gd name="connsiteY6" fmla="*/ 1030990 h 1038241"/>
                  <a:gd name="connsiteX7" fmla="*/ 274287 w 494985"/>
                  <a:gd name="connsiteY7" fmla="*/ 1037339 h 1038241"/>
                  <a:gd name="connsiteX8" fmla="*/ 153637 w 494985"/>
                  <a:gd name="connsiteY8" fmla="*/ 1037339 h 1038241"/>
                  <a:gd name="connsiteX9" fmla="*/ 28501 w 494985"/>
                  <a:gd name="connsiteY9" fmla="*/ 1035486 h 1038241"/>
                  <a:gd name="connsiteX10" fmla="*/ 0 w 494985"/>
                  <a:gd name="connsiteY10" fmla="*/ 1006985 h 1038241"/>
                  <a:gd name="connsiteX11" fmla="*/ 0 w 494985"/>
                  <a:gd name="connsiteY11" fmla="*/ 28501 h 1038241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0373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1008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7605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0461 w 494985"/>
                  <a:gd name="connsiteY8" fmla="*/ 1040514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57"/>
                  <a:gd name="connsiteX1" fmla="*/ 28501 w 494985"/>
                  <a:gd name="connsiteY1" fmla="*/ 0 h 1100857"/>
                  <a:gd name="connsiteX2" fmla="*/ 466484 w 494985"/>
                  <a:gd name="connsiteY2" fmla="*/ 0 h 1100857"/>
                  <a:gd name="connsiteX3" fmla="*/ 494985 w 494985"/>
                  <a:gd name="connsiteY3" fmla="*/ 28501 h 1100857"/>
                  <a:gd name="connsiteX4" fmla="*/ 494985 w 494985"/>
                  <a:gd name="connsiteY4" fmla="*/ 1006985 h 1100857"/>
                  <a:gd name="connsiteX5" fmla="*/ 466484 w 494985"/>
                  <a:gd name="connsiteY5" fmla="*/ 1035486 h 1100857"/>
                  <a:gd name="connsiteX6" fmla="*/ 369537 w 494985"/>
                  <a:gd name="connsiteY6" fmla="*/ 1030990 h 1100857"/>
                  <a:gd name="connsiteX7" fmla="*/ 198087 w 494985"/>
                  <a:gd name="connsiteY7" fmla="*/ 1100839 h 1100857"/>
                  <a:gd name="connsiteX8" fmla="*/ 148080 w 494985"/>
                  <a:gd name="connsiteY8" fmla="*/ 1033370 h 1100857"/>
                  <a:gd name="connsiteX9" fmla="*/ 28501 w 494985"/>
                  <a:gd name="connsiteY9" fmla="*/ 1035486 h 1100857"/>
                  <a:gd name="connsiteX10" fmla="*/ 0 w 494985"/>
                  <a:gd name="connsiteY10" fmla="*/ 1006985 h 1100857"/>
                  <a:gd name="connsiteX11" fmla="*/ 0 w 494985"/>
                  <a:gd name="connsiteY11" fmla="*/ 28501 h 1100857"/>
                  <a:gd name="connsiteX0" fmla="*/ 0 w 494985"/>
                  <a:gd name="connsiteY0" fmla="*/ 28501 h 1101187"/>
                  <a:gd name="connsiteX1" fmla="*/ 28501 w 494985"/>
                  <a:gd name="connsiteY1" fmla="*/ 0 h 1101187"/>
                  <a:gd name="connsiteX2" fmla="*/ 466484 w 494985"/>
                  <a:gd name="connsiteY2" fmla="*/ 0 h 1101187"/>
                  <a:gd name="connsiteX3" fmla="*/ 494985 w 494985"/>
                  <a:gd name="connsiteY3" fmla="*/ 28501 h 1101187"/>
                  <a:gd name="connsiteX4" fmla="*/ 494985 w 494985"/>
                  <a:gd name="connsiteY4" fmla="*/ 1006985 h 1101187"/>
                  <a:gd name="connsiteX5" fmla="*/ 466484 w 494985"/>
                  <a:gd name="connsiteY5" fmla="*/ 1035486 h 1101187"/>
                  <a:gd name="connsiteX6" fmla="*/ 369537 w 494985"/>
                  <a:gd name="connsiteY6" fmla="*/ 1030990 h 1101187"/>
                  <a:gd name="connsiteX7" fmla="*/ 198087 w 494985"/>
                  <a:gd name="connsiteY7" fmla="*/ 1100839 h 1101187"/>
                  <a:gd name="connsiteX8" fmla="*/ 148080 w 494985"/>
                  <a:gd name="connsiteY8" fmla="*/ 1033370 h 1101187"/>
                  <a:gd name="connsiteX9" fmla="*/ 28501 w 494985"/>
                  <a:gd name="connsiteY9" fmla="*/ 1035486 h 1101187"/>
                  <a:gd name="connsiteX10" fmla="*/ 0 w 494985"/>
                  <a:gd name="connsiteY10" fmla="*/ 1006985 h 1101187"/>
                  <a:gd name="connsiteX11" fmla="*/ 0 w 494985"/>
                  <a:gd name="connsiteY11" fmla="*/ 28501 h 1101187"/>
                  <a:gd name="connsiteX0" fmla="*/ 0 w 494985"/>
                  <a:gd name="connsiteY0" fmla="*/ 28501 h 1101096"/>
                  <a:gd name="connsiteX1" fmla="*/ 28501 w 494985"/>
                  <a:gd name="connsiteY1" fmla="*/ 0 h 1101096"/>
                  <a:gd name="connsiteX2" fmla="*/ 466484 w 494985"/>
                  <a:gd name="connsiteY2" fmla="*/ 0 h 1101096"/>
                  <a:gd name="connsiteX3" fmla="*/ 494985 w 494985"/>
                  <a:gd name="connsiteY3" fmla="*/ 28501 h 1101096"/>
                  <a:gd name="connsiteX4" fmla="*/ 494985 w 494985"/>
                  <a:gd name="connsiteY4" fmla="*/ 1006985 h 1101096"/>
                  <a:gd name="connsiteX5" fmla="*/ 466484 w 494985"/>
                  <a:gd name="connsiteY5" fmla="*/ 1035486 h 1101096"/>
                  <a:gd name="connsiteX6" fmla="*/ 369537 w 494985"/>
                  <a:gd name="connsiteY6" fmla="*/ 1030990 h 1101096"/>
                  <a:gd name="connsiteX7" fmla="*/ 290956 w 494985"/>
                  <a:gd name="connsiteY7" fmla="*/ 1055596 h 1101096"/>
                  <a:gd name="connsiteX8" fmla="*/ 198087 w 494985"/>
                  <a:gd name="connsiteY8" fmla="*/ 1100839 h 1101096"/>
                  <a:gd name="connsiteX9" fmla="*/ 148080 w 494985"/>
                  <a:gd name="connsiteY9" fmla="*/ 1033370 h 1101096"/>
                  <a:gd name="connsiteX10" fmla="*/ 28501 w 494985"/>
                  <a:gd name="connsiteY10" fmla="*/ 1035486 h 1101096"/>
                  <a:gd name="connsiteX11" fmla="*/ 0 w 494985"/>
                  <a:gd name="connsiteY11" fmla="*/ 1006985 h 1101096"/>
                  <a:gd name="connsiteX12" fmla="*/ 0 w 494985"/>
                  <a:gd name="connsiteY12" fmla="*/ 28501 h 1101096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6321"/>
                  <a:gd name="connsiteX1" fmla="*/ 28501 w 494985"/>
                  <a:gd name="connsiteY1" fmla="*/ 0 h 1106321"/>
                  <a:gd name="connsiteX2" fmla="*/ 466484 w 494985"/>
                  <a:gd name="connsiteY2" fmla="*/ 0 h 1106321"/>
                  <a:gd name="connsiteX3" fmla="*/ 494985 w 494985"/>
                  <a:gd name="connsiteY3" fmla="*/ 28501 h 1106321"/>
                  <a:gd name="connsiteX4" fmla="*/ 494985 w 494985"/>
                  <a:gd name="connsiteY4" fmla="*/ 1006985 h 1106321"/>
                  <a:gd name="connsiteX5" fmla="*/ 466484 w 494985"/>
                  <a:gd name="connsiteY5" fmla="*/ 1035486 h 1106321"/>
                  <a:gd name="connsiteX6" fmla="*/ 371918 w 494985"/>
                  <a:gd name="connsiteY6" fmla="*/ 1041471 h 1106321"/>
                  <a:gd name="connsiteX7" fmla="*/ 305243 w 494985"/>
                  <a:gd name="connsiteY7" fmla="*/ 1106317 h 1106321"/>
                  <a:gd name="connsiteX8" fmla="*/ 198087 w 494985"/>
                  <a:gd name="connsiteY8" fmla="*/ 1100839 h 1106321"/>
                  <a:gd name="connsiteX9" fmla="*/ 150462 w 494985"/>
                  <a:gd name="connsiteY9" fmla="*/ 1038611 h 1106321"/>
                  <a:gd name="connsiteX10" fmla="*/ 28501 w 494985"/>
                  <a:gd name="connsiteY10" fmla="*/ 1035486 h 1106321"/>
                  <a:gd name="connsiteX11" fmla="*/ 0 w 494985"/>
                  <a:gd name="connsiteY11" fmla="*/ 1006985 h 1106321"/>
                  <a:gd name="connsiteX12" fmla="*/ 0 w 494985"/>
                  <a:gd name="connsiteY12" fmla="*/ 28501 h 1106321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0462 w 494985"/>
                  <a:gd name="connsiteY9" fmla="*/ 103861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79037 w 494985"/>
                  <a:gd name="connsiteY9" fmla="*/ 10359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153278 w 494985"/>
                  <a:gd name="connsiteY10" fmla="*/ 1037850 h 1102488"/>
                  <a:gd name="connsiteX11" fmla="*/ 28501 w 494985"/>
                  <a:gd name="connsiteY11" fmla="*/ 1035486 h 1102488"/>
                  <a:gd name="connsiteX12" fmla="*/ 0 w 494985"/>
                  <a:gd name="connsiteY12" fmla="*/ 1006985 h 1102488"/>
                  <a:gd name="connsiteX13" fmla="*/ 0 w 494985"/>
                  <a:gd name="connsiteY13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3278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3654"/>
                  <a:gd name="connsiteX1" fmla="*/ 28501 w 494985"/>
                  <a:gd name="connsiteY1" fmla="*/ 0 h 1103654"/>
                  <a:gd name="connsiteX2" fmla="*/ 466484 w 494985"/>
                  <a:gd name="connsiteY2" fmla="*/ 0 h 1103654"/>
                  <a:gd name="connsiteX3" fmla="*/ 494985 w 494985"/>
                  <a:gd name="connsiteY3" fmla="*/ 28501 h 1103654"/>
                  <a:gd name="connsiteX4" fmla="*/ 494985 w 494985"/>
                  <a:gd name="connsiteY4" fmla="*/ 1006985 h 1103654"/>
                  <a:gd name="connsiteX5" fmla="*/ 466484 w 494985"/>
                  <a:gd name="connsiteY5" fmla="*/ 1035486 h 1103654"/>
                  <a:gd name="connsiteX6" fmla="*/ 371918 w 494985"/>
                  <a:gd name="connsiteY6" fmla="*/ 1041471 h 1103654"/>
                  <a:gd name="connsiteX7" fmla="*/ 307624 w 494985"/>
                  <a:gd name="connsiteY7" fmla="*/ 1101077 h 1103654"/>
                  <a:gd name="connsiteX8" fmla="*/ 198087 w 494985"/>
                  <a:gd name="connsiteY8" fmla="*/ 1100839 h 1103654"/>
                  <a:gd name="connsiteX9" fmla="*/ 136609 w 494985"/>
                  <a:gd name="connsiteY9" fmla="*/ 1037850 h 1103654"/>
                  <a:gd name="connsiteX10" fmla="*/ 28501 w 494985"/>
                  <a:gd name="connsiteY10" fmla="*/ 1035486 h 1103654"/>
                  <a:gd name="connsiteX11" fmla="*/ 0 w 494985"/>
                  <a:gd name="connsiteY11" fmla="*/ 1006985 h 1103654"/>
                  <a:gd name="connsiteX12" fmla="*/ 0 w 494985"/>
                  <a:gd name="connsiteY12" fmla="*/ 28501 h 1103654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6240"/>
                  <a:gd name="connsiteX1" fmla="*/ 28501 w 494985"/>
                  <a:gd name="connsiteY1" fmla="*/ 0 h 1106240"/>
                  <a:gd name="connsiteX2" fmla="*/ 466484 w 494985"/>
                  <a:gd name="connsiteY2" fmla="*/ 0 h 1106240"/>
                  <a:gd name="connsiteX3" fmla="*/ 494985 w 494985"/>
                  <a:gd name="connsiteY3" fmla="*/ 28501 h 1106240"/>
                  <a:gd name="connsiteX4" fmla="*/ 494985 w 494985"/>
                  <a:gd name="connsiteY4" fmla="*/ 1006985 h 1106240"/>
                  <a:gd name="connsiteX5" fmla="*/ 466484 w 494985"/>
                  <a:gd name="connsiteY5" fmla="*/ 1035486 h 1106240"/>
                  <a:gd name="connsiteX6" fmla="*/ 369537 w 494985"/>
                  <a:gd name="connsiteY6" fmla="*/ 1033611 h 1106240"/>
                  <a:gd name="connsiteX7" fmla="*/ 307624 w 494985"/>
                  <a:gd name="connsiteY7" fmla="*/ 1101077 h 1106240"/>
                  <a:gd name="connsiteX8" fmla="*/ 198087 w 494985"/>
                  <a:gd name="connsiteY8" fmla="*/ 1100839 h 1106240"/>
                  <a:gd name="connsiteX9" fmla="*/ 158041 w 494985"/>
                  <a:gd name="connsiteY9" fmla="*/ 1035229 h 1106240"/>
                  <a:gd name="connsiteX10" fmla="*/ 28501 w 494985"/>
                  <a:gd name="connsiteY10" fmla="*/ 1035486 h 1106240"/>
                  <a:gd name="connsiteX11" fmla="*/ 0 w 494985"/>
                  <a:gd name="connsiteY11" fmla="*/ 1006985 h 1106240"/>
                  <a:gd name="connsiteX12" fmla="*/ 0 w 494985"/>
                  <a:gd name="connsiteY12" fmla="*/ 28501 h 1106240"/>
                  <a:gd name="connsiteX0" fmla="*/ 0 w 494985"/>
                  <a:gd name="connsiteY0" fmla="*/ 28501 h 1105659"/>
                  <a:gd name="connsiteX1" fmla="*/ 28501 w 494985"/>
                  <a:gd name="connsiteY1" fmla="*/ 0 h 1105659"/>
                  <a:gd name="connsiteX2" fmla="*/ 466484 w 494985"/>
                  <a:gd name="connsiteY2" fmla="*/ 0 h 1105659"/>
                  <a:gd name="connsiteX3" fmla="*/ 494985 w 494985"/>
                  <a:gd name="connsiteY3" fmla="*/ 28501 h 1105659"/>
                  <a:gd name="connsiteX4" fmla="*/ 494985 w 494985"/>
                  <a:gd name="connsiteY4" fmla="*/ 1006985 h 1105659"/>
                  <a:gd name="connsiteX5" fmla="*/ 466484 w 494985"/>
                  <a:gd name="connsiteY5" fmla="*/ 1035486 h 1105659"/>
                  <a:gd name="connsiteX6" fmla="*/ 371918 w 494985"/>
                  <a:gd name="connsiteY6" fmla="*/ 1041470 h 1105659"/>
                  <a:gd name="connsiteX7" fmla="*/ 307624 w 494985"/>
                  <a:gd name="connsiteY7" fmla="*/ 1101077 h 1105659"/>
                  <a:gd name="connsiteX8" fmla="*/ 198087 w 494985"/>
                  <a:gd name="connsiteY8" fmla="*/ 1100839 h 1105659"/>
                  <a:gd name="connsiteX9" fmla="*/ 158041 w 494985"/>
                  <a:gd name="connsiteY9" fmla="*/ 1035229 h 1105659"/>
                  <a:gd name="connsiteX10" fmla="*/ 28501 w 494985"/>
                  <a:gd name="connsiteY10" fmla="*/ 1035486 h 1105659"/>
                  <a:gd name="connsiteX11" fmla="*/ 0 w 494985"/>
                  <a:gd name="connsiteY11" fmla="*/ 1006985 h 1105659"/>
                  <a:gd name="connsiteX12" fmla="*/ 0 w 494985"/>
                  <a:gd name="connsiteY12" fmla="*/ 28501 h 1105659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4264"/>
                  <a:gd name="connsiteX1" fmla="*/ 28501 w 494985"/>
                  <a:gd name="connsiteY1" fmla="*/ 0 h 1104264"/>
                  <a:gd name="connsiteX2" fmla="*/ 466484 w 494985"/>
                  <a:gd name="connsiteY2" fmla="*/ 0 h 1104264"/>
                  <a:gd name="connsiteX3" fmla="*/ 494985 w 494985"/>
                  <a:gd name="connsiteY3" fmla="*/ 28501 h 1104264"/>
                  <a:gd name="connsiteX4" fmla="*/ 494985 w 494985"/>
                  <a:gd name="connsiteY4" fmla="*/ 1006985 h 1104264"/>
                  <a:gd name="connsiteX5" fmla="*/ 466484 w 494985"/>
                  <a:gd name="connsiteY5" fmla="*/ 1035486 h 1104264"/>
                  <a:gd name="connsiteX6" fmla="*/ 364775 w 494985"/>
                  <a:gd name="connsiteY6" fmla="*/ 1036230 h 1104264"/>
                  <a:gd name="connsiteX7" fmla="*/ 312387 w 494985"/>
                  <a:gd name="connsiteY7" fmla="*/ 1098457 h 1104264"/>
                  <a:gd name="connsiteX8" fmla="*/ 198087 w 494985"/>
                  <a:gd name="connsiteY8" fmla="*/ 1100839 h 1104264"/>
                  <a:gd name="connsiteX9" fmla="*/ 158041 w 494985"/>
                  <a:gd name="connsiteY9" fmla="*/ 1035229 h 1104264"/>
                  <a:gd name="connsiteX10" fmla="*/ 28501 w 494985"/>
                  <a:gd name="connsiteY10" fmla="*/ 1035486 h 1104264"/>
                  <a:gd name="connsiteX11" fmla="*/ 0 w 494985"/>
                  <a:gd name="connsiteY11" fmla="*/ 1006985 h 1104264"/>
                  <a:gd name="connsiteX12" fmla="*/ 0 w 494985"/>
                  <a:gd name="connsiteY12" fmla="*/ 28501 h 1104264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312387 w 494985"/>
                  <a:gd name="connsiteY7" fmla="*/ 1098457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198087 w 494985"/>
                  <a:gd name="connsiteY7" fmla="*/ 1100839 h 1100839"/>
                  <a:gd name="connsiteX8" fmla="*/ 158041 w 494985"/>
                  <a:gd name="connsiteY8" fmla="*/ 1035229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289009 w 494985"/>
                  <a:gd name="connsiteY7" fmla="*/ 1064051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64775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52869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40962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13832"/>
                  <a:gd name="connsiteX1" fmla="*/ 28501 w 494985"/>
                  <a:gd name="connsiteY1" fmla="*/ 0 h 1113832"/>
                  <a:gd name="connsiteX2" fmla="*/ 466484 w 494985"/>
                  <a:gd name="connsiteY2" fmla="*/ 0 h 1113832"/>
                  <a:gd name="connsiteX3" fmla="*/ 494985 w 494985"/>
                  <a:gd name="connsiteY3" fmla="*/ 28501 h 1113832"/>
                  <a:gd name="connsiteX4" fmla="*/ 494985 w 494985"/>
                  <a:gd name="connsiteY4" fmla="*/ 1006985 h 1113832"/>
                  <a:gd name="connsiteX5" fmla="*/ 466484 w 494985"/>
                  <a:gd name="connsiteY5" fmla="*/ 1035486 h 1113832"/>
                  <a:gd name="connsiteX6" fmla="*/ 340962 w 494985"/>
                  <a:gd name="connsiteY6" fmla="*/ 1036230 h 1113832"/>
                  <a:gd name="connsiteX7" fmla="*/ 293772 w 494985"/>
                  <a:gd name="connsiteY7" fmla="*/ 1113832 h 1113832"/>
                  <a:gd name="connsiteX8" fmla="*/ 200469 w 494985"/>
                  <a:gd name="connsiteY8" fmla="*/ 1108699 h 1113832"/>
                  <a:gd name="connsiteX9" fmla="*/ 158041 w 494985"/>
                  <a:gd name="connsiteY9" fmla="*/ 1035229 h 1113832"/>
                  <a:gd name="connsiteX10" fmla="*/ 28501 w 494985"/>
                  <a:gd name="connsiteY10" fmla="*/ 1035486 h 1113832"/>
                  <a:gd name="connsiteX11" fmla="*/ 0 w 494985"/>
                  <a:gd name="connsiteY11" fmla="*/ 1006985 h 1113832"/>
                  <a:gd name="connsiteX12" fmla="*/ 0 w 494985"/>
                  <a:gd name="connsiteY12" fmla="*/ 28501 h 111383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305679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4985" h="1108699">
                    <a:moveTo>
                      <a:pt x="0" y="28501"/>
                    </a:moveTo>
                    <a:cubicBezTo>
                      <a:pt x="0" y="12760"/>
                      <a:pt x="12760" y="0"/>
                      <a:pt x="28501" y="0"/>
                    </a:cubicBezTo>
                    <a:lnTo>
                      <a:pt x="466484" y="0"/>
                    </a:lnTo>
                    <a:cubicBezTo>
                      <a:pt x="482225" y="0"/>
                      <a:pt x="494985" y="12760"/>
                      <a:pt x="494985" y="28501"/>
                    </a:cubicBezTo>
                    <a:lnTo>
                      <a:pt x="494985" y="1006985"/>
                    </a:lnTo>
                    <a:cubicBezTo>
                      <a:pt x="494985" y="1022726"/>
                      <a:pt x="482225" y="1035486"/>
                      <a:pt x="466484" y="1035486"/>
                    </a:cubicBezTo>
                    <a:lnTo>
                      <a:pt x="340962" y="1036230"/>
                    </a:lnTo>
                    <a:lnTo>
                      <a:pt x="305679" y="1108591"/>
                    </a:lnTo>
                    <a:lnTo>
                      <a:pt x="186182" y="1108699"/>
                    </a:lnTo>
                    <a:lnTo>
                      <a:pt x="158041" y="1035229"/>
                    </a:lnTo>
                    <a:lnTo>
                      <a:pt x="28501" y="1035486"/>
                    </a:lnTo>
                    <a:cubicBezTo>
                      <a:pt x="12760" y="1035486"/>
                      <a:pt x="0" y="1022726"/>
                      <a:pt x="0" y="1006985"/>
                    </a:cubicBezTo>
                    <a:lnTo>
                      <a:pt x="0" y="28501"/>
                    </a:lnTo>
                    <a:close/>
                  </a:path>
                </a:pathLst>
              </a:custGeom>
              <a:solidFill>
                <a:srgbClr val="00827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8288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Nosql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Hbas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Accumulo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  <p:sp>
            <p:nvSpPr>
              <p:cNvPr id="22" name="Rounded Rectangle 37"/>
              <p:cNvSpPr>
                <a:spLocks/>
              </p:cNvSpPr>
              <p:nvPr/>
            </p:nvSpPr>
            <p:spPr>
              <a:xfrm>
                <a:off x="5207699" y="4443822"/>
                <a:ext cx="548640" cy="817853"/>
              </a:xfrm>
              <a:custGeom>
                <a:avLst/>
                <a:gdLst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100841"/>
                  <a:gd name="connsiteX1" fmla="*/ 28501 w 494985"/>
                  <a:gd name="connsiteY1" fmla="*/ 0 h 1100841"/>
                  <a:gd name="connsiteX2" fmla="*/ 466484 w 494985"/>
                  <a:gd name="connsiteY2" fmla="*/ 0 h 1100841"/>
                  <a:gd name="connsiteX3" fmla="*/ 494985 w 494985"/>
                  <a:gd name="connsiteY3" fmla="*/ 28501 h 1100841"/>
                  <a:gd name="connsiteX4" fmla="*/ 494985 w 494985"/>
                  <a:gd name="connsiteY4" fmla="*/ 1006985 h 1100841"/>
                  <a:gd name="connsiteX5" fmla="*/ 466484 w 494985"/>
                  <a:gd name="connsiteY5" fmla="*/ 1035486 h 1100841"/>
                  <a:gd name="connsiteX6" fmla="*/ 202850 w 494985"/>
                  <a:gd name="connsiteY6" fmla="*/ 1100839 h 1100841"/>
                  <a:gd name="connsiteX7" fmla="*/ 28501 w 494985"/>
                  <a:gd name="connsiteY7" fmla="*/ 1035486 h 1100841"/>
                  <a:gd name="connsiteX8" fmla="*/ 0 w 494985"/>
                  <a:gd name="connsiteY8" fmla="*/ 1006985 h 1100841"/>
                  <a:gd name="connsiteX9" fmla="*/ 0 w 494985"/>
                  <a:gd name="connsiteY9" fmla="*/ 28501 h 1100841"/>
                  <a:gd name="connsiteX0" fmla="*/ 0 w 494985"/>
                  <a:gd name="connsiteY0" fmla="*/ 28501 h 1122703"/>
                  <a:gd name="connsiteX1" fmla="*/ 28501 w 494985"/>
                  <a:gd name="connsiteY1" fmla="*/ 0 h 1122703"/>
                  <a:gd name="connsiteX2" fmla="*/ 466484 w 494985"/>
                  <a:gd name="connsiteY2" fmla="*/ 0 h 1122703"/>
                  <a:gd name="connsiteX3" fmla="*/ 494985 w 494985"/>
                  <a:gd name="connsiteY3" fmla="*/ 28501 h 1122703"/>
                  <a:gd name="connsiteX4" fmla="*/ 494985 w 494985"/>
                  <a:gd name="connsiteY4" fmla="*/ 1006985 h 1122703"/>
                  <a:gd name="connsiteX5" fmla="*/ 466484 w 494985"/>
                  <a:gd name="connsiteY5" fmla="*/ 1035486 h 1122703"/>
                  <a:gd name="connsiteX6" fmla="*/ 326675 w 494985"/>
                  <a:gd name="connsiteY6" fmla="*/ 1119889 h 1122703"/>
                  <a:gd name="connsiteX7" fmla="*/ 202850 w 494985"/>
                  <a:gd name="connsiteY7" fmla="*/ 1100839 h 1122703"/>
                  <a:gd name="connsiteX8" fmla="*/ 28501 w 494985"/>
                  <a:gd name="connsiteY8" fmla="*/ 1035486 h 1122703"/>
                  <a:gd name="connsiteX9" fmla="*/ 0 w 494985"/>
                  <a:gd name="connsiteY9" fmla="*/ 1006985 h 1122703"/>
                  <a:gd name="connsiteX10" fmla="*/ 0 w 494985"/>
                  <a:gd name="connsiteY10" fmla="*/ 28501 h 1122703"/>
                  <a:gd name="connsiteX0" fmla="*/ 0 w 494985"/>
                  <a:gd name="connsiteY0" fmla="*/ 28501 h 1120138"/>
                  <a:gd name="connsiteX1" fmla="*/ 28501 w 494985"/>
                  <a:gd name="connsiteY1" fmla="*/ 0 h 1120138"/>
                  <a:gd name="connsiteX2" fmla="*/ 466484 w 494985"/>
                  <a:gd name="connsiteY2" fmla="*/ 0 h 1120138"/>
                  <a:gd name="connsiteX3" fmla="*/ 494985 w 494985"/>
                  <a:gd name="connsiteY3" fmla="*/ 28501 h 1120138"/>
                  <a:gd name="connsiteX4" fmla="*/ 494985 w 494985"/>
                  <a:gd name="connsiteY4" fmla="*/ 1006985 h 1120138"/>
                  <a:gd name="connsiteX5" fmla="*/ 466484 w 494985"/>
                  <a:gd name="connsiteY5" fmla="*/ 1035486 h 1120138"/>
                  <a:gd name="connsiteX6" fmla="*/ 364775 w 494985"/>
                  <a:gd name="connsiteY6" fmla="*/ 1062739 h 1120138"/>
                  <a:gd name="connsiteX7" fmla="*/ 326675 w 494985"/>
                  <a:gd name="connsiteY7" fmla="*/ 1119889 h 1120138"/>
                  <a:gd name="connsiteX8" fmla="*/ 202850 w 494985"/>
                  <a:gd name="connsiteY8" fmla="*/ 1100839 h 1120138"/>
                  <a:gd name="connsiteX9" fmla="*/ 28501 w 494985"/>
                  <a:gd name="connsiteY9" fmla="*/ 1035486 h 1120138"/>
                  <a:gd name="connsiteX10" fmla="*/ 0 w 494985"/>
                  <a:gd name="connsiteY10" fmla="*/ 1006985 h 1120138"/>
                  <a:gd name="connsiteX11" fmla="*/ 0 w 494985"/>
                  <a:gd name="connsiteY11" fmla="*/ 28501 h 1120138"/>
                  <a:gd name="connsiteX0" fmla="*/ 0 w 494985"/>
                  <a:gd name="connsiteY0" fmla="*/ 28501 h 1126828"/>
                  <a:gd name="connsiteX1" fmla="*/ 28501 w 494985"/>
                  <a:gd name="connsiteY1" fmla="*/ 0 h 1126828"/>
                  <a:gd name="connsiteX2" fmla="*/ 466484 w 494985"/>
                  <a:gd name="connsiteY2" fmla="*/ 0 h 1126828"/>
                  <a:gd name="connsiteX3" fmla="*/ 494985 w 494985"/>
                  <a:gd name="connsiteY3" fmla="*/ 28501 h 1126828"/>
                  <a:gd name="connsiteX4" fmla="*/ 494985 w 494985"/>
                  <a:gd name="connsiteY4" fmla="*/ 1006985 h 1126828"/>
                  <a:gd name="connsiteX5" fmla="*/ 466484 w 494985"/>
                  <a:gd name="connsiteY5" fmla="*/ 1035486 h 1126828"/>
                  <a:gd name="connsiteX6" fmla="*/ 364775 w 494985"/>
                  <a:gd name="connsiteY6" fmla="*/ 1062739 h 1126828"/>
                  <a:gd name="connsiteX7" fmla="*/ 326675 w 494985"/>
                  <a:gd name="connsiteY7" fmla="*/ 1119889 h 1126828"/>
                  <a:gd name="connsiteX8" fmla="*/ 212375 w 494985"/>
                  <a:gd name="connsiteY8" fmla="*/ 1124651 h 1126828"/>
                  <a:gd name="connsiteX9" fmla="*/ 28501 w 494985"/>
                  <a:gd name="connsiteY9" fmla="*/ 1035486 h 1126828"/>
                  <a:gd name="connsiteX10" fmla="*/ 0 w 494985"/>
                  <a:gd name="connsiteY10" fmla="*/ 1006985 h 1126828"/>
                  <a:gd name="connsiteX11" fmla="*/ 0 w 494985"/>
                  <a:gd name="connsiteY11" fmla="*/ 28501 h 1126828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19930"/>
                  <a:gd name="connsiteX1" fmla="*/ 28501 w 494985"/>
                  <a:gd name="connsiteY1" fmla="*/ 0 h 1119930"/>
                  <a:gd name="connsiteX2" fmla="*/ 466484 w 494985"/>
                  <a:gd name="connsiteY2" fmla="*/ 0 h 1119930"/>
                  <a:gd name="connsiteX3" fmla="*/ 494985 w 494985"/>
                  <a:gd name="connsiteY3" fmla="*/ 28501 h 1119930"/>
                  <a:gd name="connsiteX4" fmla="*/ 494985 w 494985"/>
                  <a:gd name="connsiteY4" fmla="*/ 1006985 h 1119930"/>
                  <a:gd name="connsiteX5" fmla="*/ 466484 w 494985"/>
                  <a:gd name="connsiteY5" fmla="*/ 1035486 h 1119930"/>
                  <a:gd name="connsiteX6" fmla="*/ 364775 w 494985"/>
                  <a:gd name="connsiteY6" fmla="*/ 1062739 h 1119930"/>
                  <a:gd name="connsiteX7" fmla="*/ 326675 w 494985"/>
                  <a:gd name="connsiteY7" fmla="*/ 1119889 h 1119930"/>
                  <a:gd name="connsiteX8" fmla="*/ 150463 w 494985"/>
                  <a:gd name="connsiteY8" fmla="*/ 1053215 h 1119930"/>
                  <a:gd name="connsiteX9" fmla="*/ 28501 w 494985"/>
                  <a:gd name="connsiteY9" fmla="*/ 1035486 h 1119930"/>
                  <a:gd name="connsiteX10" fmla="*/ 0 w 494985"/>
                  <a:gd name="connsiteY10" fmla="*/ 1006985 h 1119930"/>
                  <a:gd name="connsiteX11" fmla="*/ 0 w 494985"/>
                  <a:gd name="connsiteY11" fmla="*/ 28501 h 1119930"/>
                  <a:gd name="connsiteX0" fmla="*/ 0 w 494985"/>
                  <a:gd name="connsiteY0" fmla="*/ 28501 h 1120193"/>
                  <a:gd name="connsiteX1" fmla="*/ 28501 w 494985"/>
                  <a:gd name="connsiteY1" fmla="*/ 0 h 1120193"/>
                  <a:gd name="connsiteX2" fmla="*/ 466484 w 494985"/>
                  <a:gd name="connsiteY2" fmla="*/ 0 h 1120193"/>
                  <a:gd name="connsiteX3" fmla="*/ 494985 w 494985"/>
                  <a:gd name="connsiteY3" fmla="*/ 28501 h 1120193"/>
                  <a:gd name="connsiteX4" fmla="*/ 494985 w 494985"/>
                  <a:gd name="connsiteY4" fmla="*/ 1006985 h 1120193"/>
                  <a:gd name="connsiteX5" fmla="*/ 466484 w 494985"/>
                  <a:gd name="connsiteY5" fmla="*/ 1035486 h 1120193"/>
                  <a:gd name="connsiteX6" fmla="*/ 364775 w 494985"/>
                  <a:gd name="connsiteY6" fmla="*/ 1062739 h 1120193"/>
                  <a:gd name="connsiteX7" fmla="*/ 326675 w 494985"/>
                  <a:gd name="connsiteY7" fmla="*/ 1119889 h 1120193"/>
                  <a:gd name="connsiteX8" fmla="*/ 28501 w 494985"/>
                  <a:gd name="connsiteY8" fmla="*/ 1035486 h 1120193"/>
                  <a:gd name="connsiteX9" fmla="*/ 0 w 494985"/>
                  <a:gd name="connsiteY9" fmla="*/ 1006985 h 1120193"/>
                  <a:gd name="connsiteX10" fmla="*/ 0 w 494985"/>
                  <a:gd name="connsiteY10" fmla="*/ 28501 h 1120193"/>
                  <a:gd name="connsiteX0" fmla="*/ 0 w 494985"/>
                  <a:gd name="connsiteY0" fmla="*/ 28501 h 1062739"/>
                  <a:gd name="connsiteX1" fmla="*/ 28501 w 494985"/>
                  <a:gd name="connsiteY1" fmla="*/ 0 h 1062739"/>
                  <a:gd name="connsiteX2" fmla="*/ 466484 w 494985"/>
                  <a:gd name="connsiteY2" fmla="*/ 0 h 1062739"/>
                  <a:gd name="connsiteX3" fmla="*/ 494985 w 494985"/>
                  <a:gd name="connsiteY3" fmla="*/ 28501 h 1062739"/>
                  <a:gd name="connsiteX4" fmla="*/ 494985 w 494985"/>
                  <a:gd name="connsiteY4" fmla="*/ 1006985 h 1062739"/>
                  <a:gd name="connsiteX5" fmla="*/ 466484 w 494985"/>
                  <a:gd name="connsiteY5" fmla="*/ 1035486 h 1062739"/>
                  <a:gd name="connsiteX6" fmla="*/ 364775 w 494985"/>
                  <a:gd name="connsiteY6" fmla="*/ 1062739 h 1062739"/>
                  <a:gd name="connsiteX7" fmla="*/ 28501 w 494985"/>
                  <a:gd name="connsiteY7" fmla="*/ 1035486 h 1062739"/>
                  <a:gd name="connsiteX8" fmla="*/ 0 w 494985"/>
                  <a:gd name="connsiteY8" fmla="*/ 1006985 h 1062739"/>
                  <a:gd name="connsiteX9" fmla="*/ 0 w 494985"/>
                  <a:gd name="connsiteY9" fmla="*/ 28501 h 1062739"/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038340"/>
                  <a:gd name="connsiteX1" fmla="*/ 28501 w 494985"/>
                  <a:gd name="connsiteY1" fmla="*/ 0 h 1038340"/>
                  <a:gd name="connsiteX2" fmla="*/ 466484 w 494985"/>
                  <a:gd name="connsiteY2" fmla="*/ 0 h 1038340"/>
                  <a:gd name="connsiteX3" fmla="*/ 494985 w 494985"/>
                  <a:gd name="connsiteY3" fmla="*/ 28501 h 1038340"/>
                  <a:gd name="connsiteX4" fmla="*/ 494985 w 494985"/>
                  <a:gd name="connsiteY4" fmla="*/ 1006985 h 1038340"/>
                  <a:gd name="connsiteX5" fmla="*/ 466484 w 494985"/>
                  <a:gd name="connsiteY5" fmla="*/ 1035486 h 1038340"/>
                  <a:gd name="connsiteX6" fmla="*/ 153637 w 494985"/>
                  <a:gd name="connsiteY6" fmla="*/ 1037339 h 1038340"/>
                  <a:gd name="connsiteX7" fmla="*/ 28501 w 494985"/>
                  <a:gd name="connsiteY7" fmla="*/ 1035486 h 1038340"/>
                  <a:gd name="connsiteX8" fmla="*/ 0 w 494985"/>
                  <a:gd name="connsiteY8" fmla="*/ 1006985 h 1038340"/>
                  <a:gd name="connsiteX9" fmla="*/ 0 w 494985"/>
                  <a:gd name="connsiteY9" fmla="*/ 28501 h 1038340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274287 w 494985"/>
                  <a:gd name="connsiteY6" fmla="*/ 1037339 h 1038241"/>
                  <a:gd name="connsiteX7" fmla="*/ 153637 w 494985"/>
                  <a:gd name="connsiteY7" fmla="*/ 1037339 h 1038241"/>
                  <a:gd name="connsiteX8" fmla="*/ 28501 w 494985"/>
                  <a:gd name="connsiteY8" fmla="*/ 1035486 h 1038241"/>
                  <a:gd name="connsiteX9" fmla="*/ 0 w 494985"/>
                  <a:gd name="connsiteY9" fmla="*/ 1006985 h 1038241"/>
                  <a:gd name="connsiteX10" fmla="*/ 0 w 494985"/>
                  <a:gd name="connsiteY10" fmla="*/ 28501 h 1038241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369537 w 494985"/>
                  <a:gd name="connsiteY6" fmla="*/ 1030990 h 1038241"/>
                  <a:gd name="connsiteX7" fmla="*/ 274287 w 494985"/>
                  <a:gd name="connsiteY7" fmla="*/ 1037339 h 1038241"/>
                  <a:gd name="connsiteX8" fmla="*/ 153637 w 494985"/>
                  <a:gd name="connsiteY8" fmla="*/ 1037339 h 1038241"/>
                  <a:gd name="connsiteX9" fmla="*/ 28501 w 494985"/>
                  <a:gd name="connsiteY9" fmla="*/ 1035486 h 1038241"/>
                  <a:gd name="connsiteX10" fmla="*/ 0 w 494985"/>
                  <a:gd name="connsiteY10" fmla="*/ 1006985 h 1038241"/>
                  <a:gd name="connsiteX11" fmla="*/ 0 w 494985"/>
                  <a:gd name="connsiteY11" fmla="*/ 28501 h 1038241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0373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1008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7605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0461 w 494985"/>
                  <a:gd name="connsiteY8" fmla="*/ 1040514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57"/>
                  <a:gd name="connsiteX1" fmla="*/ 28501 w 494985"/>
                  <a:gd name="connsiteY1" fmla="*/ 0 h 1100857"/>
                  <a:gd name="connsiteX2" fmla="*/ 466484 w 494985"/>
                  <a:gd name="connsiteY2" fmla="*/ 0 h 1100857"/>
                  <a:gd name="connsiteX3" fmla="*/ 494985 w 494985"/>
                  <a:gd name="connsiteY3" fmla="*/ 28501 h 1100857"/>
                  <a:gd name="connsiteX4" fmla="*/ 494985 w 494985"/>
                  <a:gd name="connsiteY4" fmla="*/ 1006985 h 1100857"/>
                  <a:gd name="connsiteX5" fmla="*/ 466484 w 494985"/>
                  <a:gd name="connsiteY5" fmla="*/ 1035486 h 1100857"/>
                  <a:gd name="connsiteX6" fmla="*/ 369537 w 494985"/>
                  <a:gd name="connsiteY6" fmla="*/ 1030990 h 1100857"/>
                  <a:gd name="connsiteX7" fmla="*/ 198087 w 494985"/>
                  <a:gd name="connsiteY7" fmla="*/ 1100839 h 1100857"/>
                  <a:gd name="connsiteX8" fmla="*/ 148080 w 494985"/>
                  <a:gd name="connsiteY8" fmla="*/ 1033370 h 1100857"/>
                  <a:gd name="connsiteX9" fmla="*/ 28501 w 494985"/>
                  <a:gd name="connsiteY9" fmla="*/ 1035486 h 1100857"/>
                  <a:gd name="connsiteX10" fmla="*/ 0 w 494985"/>
                  <a:gd name="connsiteY10" fmla="*/ 1006985 h 1100857"/>
                  <a:gd name="connsiteX11" fmla="*/ 0 w 494985"/>
                  <a:gd name="connsiteY11" fmla="*/ 28501 h 1100857"/>
                  <a:gd name="connsiteX0" fmla="*/ 0 w 494985"/>
                  <a:gd name="connsiteY0" fmla="*/ 28501 h 1101187"/>
                  <a:gd name="connsiteX1" fmla="*/ 28501 w 494985"/>
                  <a:gd name="connsiteY1" fmla="*/ 0 h 1101187"/>
                  <a:gd name="connsiteX2" fmla="*/ 466484 w 494985"/>
                  <a:gd name="connsiteY2" fmla="*/ 0 h 1101187"/>
                  <a:gd name="connsiteX3" fmla="*/ 494985 w 494985"/>
                  <a:gd name="connsiteY3" fmla="*/ 28501 h 1101187"/>
                  <a:gd name="connsiteX4" fmla="*/ 494985 w 494985"/>
                  <a:gd name="connsiteY4" fmla="*/ 1006985 h 1101187"/>
                  <a:gd name="connsiteX5" fmla="*/ 466484 w 494985"/>
                  <a:gd name="connsiteY5" fmla="*/ 1035486 h 1101187"/>
                  <a:gd name="connsiteX6" fmla="*/ 369537 w 494985"/>
                  <a:gd name="connsiteY6" fmla="*/ 1030990 h 1101187"/>
                  <a:gd name="connsiteX7" fmla="*/ 198087 w 494985"/>
                  <a:gd name="connsiteY7" fmla="*/ 1100839 h 1101187"/>
                  <a:gd name="connsiteX8" fmla="*/ 148080 w 494985"/>
                  <a:gd name="connsiteY8" fmla="*/ 1033370 h 1101187"/>
                  <a:gd name="connsiteX9" fmla="*/ 28501 w 494985"/>
                  <a:gd name="connsiteY9" fmla="*/ 1035486 h 1101187"/>
                  <a:gd name="connsiteX10" fmla="*/ 0 w 494985"/>
                  <a:gd name="connsiteY10" fmla="*/ 1006985 h 1101187"/>
                  <a:gd name="connsiteX11" fmla="*/ 0 w 494985"/>
                  <a:gd name="connsiteY11" fmla="*/ 28501 h 1101187"/>
                  <a:gd name="connsiteX0" fmla="*/ 0 w 494985"/>
                  <a:gd name="connsiteY0" fmla="*/ 28501 h 1101096"/>
                  <a:gd name="connsiteX1" fmla="*/ 28501 w 494985"/>
                  <a:gd name="connsiteY1" fmla="*/ 0 h 1101096"/>
                  <a:gd name="connsiteX2" fmla="*/ 466484 w 494985"/>
                  <a:gd name="connsiteY2" fmla="*/ 0 h 1101096"/>
                  <a:gd name="connsiteX3" fmla="*/ 494985 w 494985"/>
                  <a:gd name="connsiteY3" fmla="*/ 28501 h 1101096"/>
                  <a:gd name="connsiteX4" fmla="*/ 494985 w 494985"/>
                  <a:gd name="connsiteY4" fmla="*/ 1006985 h 1101096"/>
                  <a:gd name="connsiteX5" fmla="*/ 466484 w 494985"/>
                  <a:gd name="connsiteY5" fmla="*/ 1035486 h 1101096"/>
                  <a:gd name="connsiteX6" fmla="*/ 369537 w 494985"/>
                  <a:gd name="connsiteY6" fmla="*/ 1030990 h 1101096"/>
                  <a:gd name="connsiteX7" fmla="*/ 290956 w 494985"/>
                  <a:gd name="connsiteY7" fmla="*/ 1055596 h 1101096"/>
                  <a:gd name="connsiteX8" fmla="*/ 198087 w 494985"/>
                  <a:gd name="connsiteY8" fmla="*/ 1100839 h 1101096"/>
                  <a:gd name="connsiteX9" fmla="*/ 148080 w 494985"/>
                  <a:gd name="connsiteY9" fmla="*/ 1033370 h 1101096"/>
                  <a:gd name="connsiteX10" fmla="*/ 28501 w 494985"/>
                  <a:gd name="connsiteY10" fmla="*/ 1035486 h 1101096"/>
                  <a:gd name="connsiteX11" fmla="*/ 0 w 494985"/>
                  <a:gd name="connsiteY11" fmla="*/ 1006985 h 1101096"/>
                  <a:gd name="connsiteX12" fmla="*/ 0 w 494985"/>
                  <a:gd name="connsiteY12" fmla="*/ 28501 h 1101096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6321"/>
                  <a:gd name="connsiteX1" fmla="*/ 28501 w 494985"/>
                  <a:gd name="connsiteY1" fmla="*/ 0 h 1106321"/>
                  <a:gd name="connsiteX2" fmla="*/ 466484 w 494985"/>
                  <a:gd name="connsiteY2" fmla="*/ 0 h 1106321"/>
                  <a:gd name="connsiteX3" fmla="*/ 494985 w 494985"/>
                  <a:gd name="connsiteY3" fmla="*/ 28501 h 1106321"/>
                  <a:gd name="connsiteX4" fmla="*/ 494985 w 494985"/>
                  <a:gd name="connsiteY4" fmla="*/ 1006985 h 1106321"/>
                  <a:gd name="connsiteX5" fmla="*/ 466484 w 494985"/>
                  <a:gd name="connsiteY5" fmla="*/ 1035486 h 1106321"/>
                  <a:gd name="connsiteX6" fmla="*/ 371918 w 494985"/>
                  <a:gd name="connsiteY6" fmla="*/ 1041471 h 1106321"/>
                  <a:gd name="connsiteX7" fmla="*/ 305243 w 494985"/>
                  <a:gd name="connsiteY7" fmla="*/ 1106317 h 1106321"/>
                  <a:gd name="connsiteX8" fmla="*/ 198087 w 494985"/>
                  <a:gd name="connsiteY8" fmla="*/ 1100839 h 1106321"/>
                  <a:gd name="connsiteX9" fmla="*/ 150462 w 494985"/>
                  <a:gd name="connsiteY9" fmla="*/ 1038611 h 1106321"/>
                  <a:gd name="connsiteX10" fmla="*/ 28501 w 494985"/>
                  <a:gd name="connsiteY10" fmla="*/ 1035486 h 1106321"/>
                  <a:gd name="connsiteX11" fmla="*/ 0 w 494985"/>
                  <a:gd name="connsiteY11" fmla="*/ 1006985 h 1106321"/>
                  <a:gd name="connsiteX12" fmla="*/ 0 w 494985"/>
                  <a:gd name="connsiteY12" fmla="*/ 28501 h 1106321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0462 w 494985"/>
                  <a:gd name="connsiteY9" fmla="*/ 103861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79037 w 494985"/>
                  <a:gd name="connsiteY9" fmla="*/ 10359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153278 w 494985"/>
                  <a:gd name="connsiteY10" fmla="*/ 1037850 h 1102488"/>
                  <a:gd name="connsiteX11" fmla="*/ 28501 w 494985"/>
                  <a:gd name="connsiteY11" fmla="*/ 1035486 h 1102488"/>
                  <a:gd name="connsiteX12" fmla="*/ 0 w 494985"/>
                  <a:gd name="connsiteY12" fmla="*/ 1006985 h 1102488"/>
                  <a:gd name="connsiteX13" fmla="*/ 0 w 494985"/>
                  <a:gd name="connsiteY13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3278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3654"/>
                  <a:gd name="connsiteX1" fmla="*/ 28501 w 494985"/>
                  <a:gd name="connsiteY1" fmla="*/ 0 h 1103654"/>
                  <a:gd name="connsiteX2" fmla="*/ 466484 w 494985"/>
                  <a:gd name="connsiteY2" fmla="*/ 0 h 1103654"/>
                  <a:gd name="connsiteX3" fmla="*/ 494985 w 494985"/>
                  <a:gd name="connsiteY3" fmla="*/ 28501 h 1103654"/>
                  <a:gd name="connsiteX4" fmla="*/ 494985 w 494985"/>
                  <a:gd name="connsiteY4" fmla="*/ 1006985 h 1103654"/>
                  <a:gd name="connsiteX5" fmla="*/ 466484 w 494985"/>
                  <a:gd name="connsiteY5" fmla="*/ 1035486 h 1103654"/>
                  <a:gd name="connsiteX6" fmla="*/ 371918 w 494985"/>
                  <a:gd name="connsiteY6" fmla="*/ 1041471 h 1103654"/>
                  <a:gd name="connsiteX7" fmla="*/ 307624 w 494985"/>
                  <a:gd name="connsiteY7" fmla="*/ 1101077 h 1103654"/>
                  <a:gd name="connsiteX8" fmla="*/ 198087 w 494985"/>
                  <a:gd name="connsiteY8" fmla="*/ 1100839 h 1103654"/>
                  <a:gd name="connsiteX9" fmla="*/ 136609 w 494985"/>
                  <a:gd name="connsiteY9" fmla="*/ 1037850 h 1103654"/>
                  <a:gd name="connsiteX10" fmla="*/ 28501 w 494985"/>
                  <a:gd name="connsiteY10" fmla="*/ 1035486 h 1103654"/>
                  <a:gd name="connsiteX11" fmla="*/ 0 w 494985"/>
                  <a:gd name="connsiteY11" fmla="*/ 1006985 h 1103654"/>
                  <a:gd name="connsiteX12" fmla="*/ 0 w 494985"/>
                  <a:gd name="connsiteY12" fmla="*/ 28501 h 1103654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6240"/>
                  <a:gd name="connsiteX1" fmla="*/ 28501 w 494985"/>
                  <a:gd name="connsiteY1" fmla="*/ 0 h 1106240"/>
                  <a:gd name="connsiteX2" fmla="*/ 466484 w 494985"/>
                  <a:gd name="connsiteY2" fmla="*/ 0 h 1106240"/>
                  <a:gd name="connsiteX3" fmla="*/ 494985 w 494985"/>
                  <a:gd name="connsiteY3" fmla="*/ 28501 h 1106240"/>
                  <a:gd name="connsiteX4" fmla="*/ 494985 w 494985"/>
                  <a:gd name="connsiteY4" fmla="*/ 1006985 h 1106240"/>
                  <a:gd name="connsiteX5" fmla="*/ 466484 w 494985"/>
                  <a:gd name="connsiteY5" fmla="*/ 1035486 h 1106240"/>
                  <a:gd name="connsiteX6" fmla="*/ 369537 w 494985"/>
                  <a:gd name="connsiteY6" fmla="*/ 1033611 h 1106240"/>
                  <a:gd name="connsiteX7" fmla="*/ 307624 w 494985"/>
                  <a:gd name="connsiteY7" fmla="*/ 1101077 h 1106240"/>
                  <a:gd name="connsiteX8" fmla="*/ 198087 w 494985"/>
                  <a:gd name="connsiteY8" fmla="*/ 1100839 h 1106240"/>
                  <a:gd name="connsiteX9" fmla="*/ 158041 w 494985"/>
                  <a:gd name="connsiteY9" fmla="*/ 1035229 h 1106240"/>
                  <a:gd name="connsiteX10" fmla="*/ 28501 w 494985"/>
                  <a:gd name="connsiteY10" fmla="*/ 1035486 h 1106240"/>
                  <a:gd name="connsiteX11" fmla="*/ 0 w 494985"/>
                  <a:gd name="connsiteY11" fmla="*/ 1006985 h 1106240"/>
                  <a:gd name="connsiteX12" fmla="*/ 0 w 494985"/>
                  <a:gd name="connsiteY12" fmla="*/ 28501 h 1106240"/>
                  <a:gd name="connsiteX0" fmla="*/ 0 w 494985"/>
                  <a:gd name="connsiteY0" fmla="*/ 28501 h 1105659"/>
                  <a:gd name="connsiteX1" fmla="*/ 28501 w 494985"/>
                  <a:gd name="connsiteY1" fmla="*/ 0 h 1105659"/>
                  <a:gd name="connsiteX2" fmla="*/ 466484 w 494985"/>
                  <a:gd name="connsiteY2" fmla="*/ 0 h 1105659"/>
                  <a:gd name="connsiteX3" fmla="*/ 494985 w 494985"/>
                  <a:gd name="connsiteY3" fmla="*/ 28501 h 1105659"/>
                  <a:gd name="connsiteX4" fmla="*/ 494985 w 494985"/>
                  <a:gd name="connsiteY4" fmla="*/ 1006985 h 1105659"/>
                  <a:gd name="connsiteX5" fmla="*/ 466484 w 494985"/>
                  <a:gd name="connsiteY5" fmla="*/ 1035486 h 1105659"/>
                  <a:gd name="connsiteX6" fmla="*/ 371918 w 494985"/>
                  <a:gd name="connsiteY6" fmla="*/ 1041470 h 1105659"/>
                  <a:gd name="connsiteX7" fmla="*/ 307624 w 494985"/>
                  <a:gd name="connsiteY7" fmla="*/ 1101077 h 1105659"/>
                  <a:gd name="connsiteX8" fmla="*/ 198087 w 494985"/>
                  <a:gd name="connsiteY8" fmla="*/ 1100839 h 1105659"/>
                  <a:gd name="connsiteX9" fmla="*/ 158041 w 494985"/>
                  <a:gd name="connsiteY9" fmla="*/ 1035229 h 1105659"/>
                  <a:gd name="connsiteX10" fmla="*/ 28501 w 494985"/>
                  <a:gd name="connsiteY10" fmla="*/ 1035486 h 1105659"/>
                  <a:gd name="connsiteX11" fmla="*/ 0 w 494985"/>
                  <a:gd name="connsiteY11" fmla="*/ 1006985 h 1105659"/>
                  <a:gd name="connsiteX12" fmla="*/ 0 w 494985"/>
                  <a:gd name="connsiteY12" fmla="*/ 28501 h 1105659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4264"/>
                  <a:gd name="connsiteX1" fmla="*/ 28501 w 494985"/>
                  <a:gd name="connsiteY1" fmla="*/ 0 h 1104264"/>
                  <a:gd name="connsiteX2" fmla="*/ 466484 w 494985"/>
                  <a:gd name="connsiteY2" fmla="*/ 0 h 1104264"/>
                  <a:gd name="connsiteX3" fmla="*/ 494985 w 494985"/>
                  <a:gd name="connsiteY3" fmla="*/ 28501 h 1104264"/>
                  <a:gd name="connsiteX4" fmla="*/ 494985 w 494985"/>
                  <a:gd name="connsiteY4" fmla="*/ 1006985 h 1104264"/>
                  <a:gd name="connsiteX5" fmla="*/ 466484 w 494985"/>
                  <a:gd name="connsiteY5" fmla="*/ 1035486 h 1104264"/>
                  <a:gd name="connsiteX6" fmla="*/ 364775 w 494985"/>
                  <a:gd name="connsiteY6" fmla="*/ 1036230 h 1104264"/>
                  <a:gd name="connsiteX7" fmla="*/ 312387 w 494985"/>
                  <a:gd name="connsiteY7" fmla="*/ 1098457 h 1104264"/>
                  <a:gd name="connsiteX8" fmla="*/ 198087 w 494985"/>
                  <a:gd name="connsiteY8" fmla="*/ 1100839 h 1104264"/>
                  <a:gd name="connsiteX9" fmla="*/ 158041 w 494985"/>
                  <a:gd name="connsiteY9" fmla="*/ 1035229 h 1104264"/>
                  <a:gd name="connsiteX10" fmla="*/ 28501 w 494985"/>
                  <a:gd name="connsiteY10" fmla="*/ 1035486 h 1104264"/>
                  <a:gd name="connsiteX11" fmla="*/ 0 w 494985"/>
                  <a:gd name="connsiteY11" fmla="*/ 1006985 h 1104264"/>
                  <a:gd name="connsiteX12" fmla="*/ 0 w 494985"/>
                  <a:gd name="connsiteY12" fmla="*/ 28501 h 1104264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312387 w 494985"/>
                  <a:gd name="connsiteY7" fmla="*/ 1098457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198087 w 494985"/>
                  <a:gd name="connsiteY7" fmla="*/ 1100839 h 1100839"/>
                  <a:gd name="connsiteX8" fmla="*/ 158041 w 494985"/>
                  <a:gd name="connsiteY8" fmla="*/ 1035229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289009 w 494985"/>
                  <a:gd name="connsiteY7" fmla="*/ 1064051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64775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52869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40962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13832"/>
                  <a:gd name="connsiteX1" fmla="*/ 28501 w 494985"/>
                  <a:gd name="connsiteY1" fmla="*/ 0 h 1113832"/>
                  <a:gd name="connsiteX2" fmla="*/ 466484 w 494985"/>
                  <a:gd name="connsiteY2" fmla="*/ 0 h 1113832"/>
                  <a:gd name="connsiteX3" fmla="*/ 494985 w 494985"/>
                  <a:gd name="connsiteY3" fmla="*/ 28501 h 1113832"/>
                  <a:gd name="connsiteX4" fmla="*/ 494985 w 494985"/>
                  <a:gd name="connsiteY4" fmla="*/ 1006985 h 1113832"/>
                  <a:gd name="connsiteX5" fmla="*/ 466484 w 494985"/>
                  <a:gd name="connsiteY5" fmla="*/ 1035486 h 1113832"/>
                  <a:gd name="connsiteX6" fmla="*/ 340962 w 494985"/>
                  <a:gd name="connsiteY6" fmla="*/ 1036230 h 1113832"/>
                  <a:gd name="connsiteX7" fmla="*/ 293772 w 494985"/>
                  <a:gd name="connsiteY7" fmla="*/ 1113832 h 1113832"/>
                  <a:gd name="connsiteX8" fmla="*/ 200469 w 494985"/>
                  <a:gd name="connsiteY8" fmla="*/ 1108699 h 1113832"/>
                  <a:gd name="connsiteX9" fmla="*/ 158041 w 494985"/>
                  <a:gd name="connsiteY9" fmla="*/ 1035229 h 1113832"/>
                  <a:gd name="connsiteX10" fmla="*/ 28501 w 494985"/>
                  <a:gd name="connsiteY10" fmla="*/ 1035486 h 1113832"/>
                  <a:gd name="connsiteX11" fmla="*/ 0 w 494985"/>
                  <a:gd name="connsiteY11" fmla="*/ 1006985 h 1113832"/>
                  <a:gd name="connsiteX12" fmla="*/ 0 w 494985"/>
                  <a:gd name="connsiteY12" fmla="*/ 28501 h 111383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305679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4985" h="1108699">
                    <a:moveTo>
                      <a:pt x="0" y="28501"/>
                    </a:moveTo>
                    <a:cubicBezTo>
                      <a:pt x="0" y="12760"/>
                      <a:pt x="12760" y="0"/>
                      <a:pt x="28501" y="0"/>
                    </a:cubicBezTo>
                    <a:lnTo>
                      <a:pt x="466484" y="0"/>
                    </a:lnTo>
                    <a:cubicBezTo>
                      <a:pt x="482225" y="0"/>
                      <a:pt x="494985" y="12760"/>
                      <a:pt x="494985" y="28501"/>
                    </a:cubicBezTo>
                    <a:lnTo>
                      <a:pt x="494985" y="1006985"/>
                    </a:lnTo>
                    <a:cubicBezTo>
                      <a:pt x="494985" y="1022726"/>
                      <a:pt x="482225" y="1035486"/>
                      <a:pt x="466484" y="1035486"/>
                    </a:cubicBezTo>
                    <a:lnTo>
                      <a:pt x="340962" y="1036230"/>
                    </a:lnTo>
                    <a:lnTo>
                      <a:pt x="305679" y="1108591"/>
                    </a:lnTo>
                    <a:lnTo>
                      <a:pt x="186182" y="1108699"/>
                    </a:lnTo>
                    <a:lnTo>
                      <a:pt x="158041" y="1035229"/>
                    </a:lnTo>
                    <a:lnTo>
                      <a:pt x="28501" y="1035486"/>
                    </a:lnTo>
                    <a:cubicBezTo>
                      <a:pt x="12760" y="1035486"/>
                      <a:pt x="0" y="1022726"/>
                      <a:pt x="0" y="1006985"/>
                    </a:cubicBezTo>
                    <a:lnTo>
                      <a:pt x="0" y="28501"/>
                    </a:lnTo>
                    <a:close/>
                  </a:path>
                </a:pathLst>
              </a:custGeom>
              <a:solidFill>
                <a:srgbClr val="00827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8288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Stream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 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Storm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  <p:sp>
            <p:nvSpPr>
              <p:cNvPr id="23" name="Rounded Rectangle 37"/>
              <p:cNvSpPr>
                <a:spLocks/>
              </p:cNvSpPr>
              <p:nvPr/>
            </p:nvSpPr>
            <p:spPr>
              <a:xfrm>
                <a:off x="6364972" y="4443822"/>
                <a:ext cx="677647" cy="817853"/>
              </a:xfrm>
              <a:custGeom>
                <a:avLst/>
                <a:gdLst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100841"/>
                  <a:gd name="connsiteX1" fmla="*/ 28501 w 494985"/>
                  <a:gd name="connsiteY1" fmla="*/ 0 h 1100841"/>
                  <a:gd name="connsiteX2" fmla="*/ 466484 w 494985"/>
                  <a:gd name="connsiteY2" fmla="*/ 0 h 1100841"/>
                  <a:gd name="connsiteX3" fmla="*/ 494985 w 494985"/>
                  <a:gd name="connsiteY3" fmla="*/ 28501 h 1100841"/>
                  <a:gd name="connsiteX4" fmla="*/ 494985 w 494985"/>
                  <a:gd name="connsiteY4" fmla="*/ 1006985 h 1100841"/>
                  <a:gd name="connsiteX5" fmla="*/ 466484 w 494985"/>
                  <a:gd name="connsiteY5" fmla="*/ 1035486 h 1100841"/>
                  <a:gd name="connsiteX6" fmla="*/ 202850 w 494985"/>
                  <a:gd name="connsiteY6" fmla="*/ 1100839 h 1100841"/>
                  <a:gd name="connsiteX7" fmla="*/ 28501 w 494985"/>
                  <a:gd name="connsiteY7" fmla="*/ 1035486 h 1100841"/>
                  <a:gd name="connsiteX8" fmla="*/ 0 w 494985"/>
                  <a:gd name="connsiteY8" fmla="*/ 1006985 h 1100841"/>
                  <a:gd name="connsiteX9" fmla="*/ 0 w 494985"/>
                  <a:gd name="connsiteY9" fmla="*/ 28501 h 1100841"/>
                  <a:gd name="connsiteX0" fmla="*/ 0 w 494985"/>
                  <a:gd name="connsiteY0" fmla="*/ 28501 h 1122703"/>
                  <a:gd name="connsiteX1" fmla="*/ 28501 w 494985"/>
                  <a:gd name="connsiteY1" fmla="*/ 0 h 1122703"/>
                  <a:gd name="connsiteX2" fmla="*/ 466484 w 494985"/>
                  <a:gd name="connsiteY2" fmla="*/ 0 h 1122703"/>
                  <a:gd name="connsiteX3" fmla="*/ 494985 w 494985"/>
                  <a:gd name="connsiteY3" fmla="*/ 28501 h 1122703"/>
                  <a:gd name="connsiteX4" fmla="*/ 494985 w 494985"/>
                  <a:gd name="connsiteY4" fmla="*/ 1006985 h 1122703"/>
                  <a:gd name="connsiteX5" fmla="*/ 466484 w 494985"/>
                  <a:gd name="connsiteY5" fmla="*/ 1035486 h 1122703"/>
                  <a:gd name="connsiteX6" fmla="*/ 326675 w 494985"/>
                  <a:gd name="connsiteY6" fmla="*/ 1119889 h 1122703"/>
                  <a:gd name="connsiteX7" fmla="*/ 202850 w 494985"/>
                  <a:gd name="connsiteY7" fmla="*/ 1100839 h 1122703"/>
                  <a:gd name="connsiteX8" fmla="*/ 28501 w 494985"/>
                  <a:gd name="connsiteY8" fmla="*/ 1035486 h 1122703"/>
                  <a:gd name="connsiteX9" fmla="*/ 0 w 494985"/>
                  <a:gd name="connsiteY9" fmla="*/ 1006985 h 1122703"/>
                  <a:gd name="connsiteX10" fmla="*/ 0 w 494985"/>
                  <a:gd name="connsiteY10" fmla="*/ 28501 h 1122703"/>
                  <a:gd name="connsiteX0" fmla="*/ 0 w 494985"/>
                  <a:gd name="connsiteY0" fmla="*/ 28501 h 1120138"/>
                  <a:gd name="connsiteX1" fmla="*/ 28501 w 494985"/>
                  <a:gd name="connsiteY1" fmla="*/ 0 h 1120138"/>
                  <a:gd name="connsiteX2" fmla="*/ 466484 w 494985"/>
                  <a:gd name="connsiteY2" fmla="*/ 0 h 1120138"/>
                  <a:gd name="connsiteX3" fmla="*/ 494985 w 494985"/>
                  <a:gd name="connsiteY3" fmla="*/ 28501 h 1120138"/>
                  <a:gd name="connsiteX4" fmla="*/ 494985 w 494985"/>
                  <a:gd name="connsiteY4" fmla="*/ 1006985 h 1120138"/>
                  <a:gd name="connsiteX5" fmla="*/ 466484 w 494985"/>
                  <a:gd name="connsiteY5" fmla="*/ 1035486 h 1120138"/>
                  <a:gd name="connsiteX6" fmla="*/ 364775 w 494985"/>
                  <a:gd name="connsiteY6" fmla="*/ 1062739 h 1120138"/>
                  <a:gd name="connsiteX7" fmla="*/ 326675 w 494985"/>
                  <a:gd name="connsiteY7" fmla="*/ 1119889 h 1120138"/>
                  <a:gd name="connsiteX8" fmla="*/ 202850 w 494985"/>
                  <a:gd name="connsiteY8" fmla="*/ 1100839 h 1120138"/>
                  <a:gd name="connsiteX9" fmla="*/ 28501 w 494985"/>
                  <a:gd name="connsiteY9" fmla="*/ 1035486 h 1120138"/>
                  <a:gd name="connsiteX10" fmla="*/ 0 w 494985"/>
                  <a:gd name="connsiteY10" fmla="*/ 1006985 h 1120138"/>
                  <a:gd name="connsiteX11" fmla="*/ 0 w 494985"/>
                  <a:gd name="connsiteY11" fmla="*/ 28501 h 1120138"/>
                  <a:gd name="connsiteX0" fmla="*/ 0 w 494985"/>
                  <a:gd name="connsiteY0" fmla="*/ 28501 h 1126828"/>
                  <a:gd name="connsiteX1" fmla="*/ 28501 w 494985"/>
                  <a:gd name="connsiteY1" fmla="*/ 0 h 1126828"/>
                  <a:gd name="connsiteX2" fmla="*/ 466484 w 494985"/>
                  <a:gd name="connsiteY2" fmla="*/ 0 h 1126828"/>
                  <a:gd name="connsiteX3" fmla="*/ 494985 w 494985"/>
                  <a:gd name="connsiteY3" fmla="*/ 28501 h 1126828"/>
                  <a:gd name="connsiteX4" fmla="*/ 494985 w 494985"/>
                  <a:gd name="connsiteY4" fmla="*/ 1006985 h 1126828"/>
                  <a:gd name="connsiteX5" fmla="*/ 466484 w 494985"/>
                  <a:gd name="connsiteY5" fmla="*/ 1035486 h 1126828"/>
                  <a:gd name="connsiteX6" fmla="*/ 364775 w 494985"/>
                  <a:gd name="connsiteY6" fmla="*/ 1062739 h 1126828"/>
                  <a:gd name="connsiteX7" fmla="*/ 326675 w 494985"/>
                  <a:gd name="connsiteY7" fmla="*/ 1119889 h 1126828"/>
                  <a:gd name="connsiteX8" fmla="*/ 212375 w 494985"/>
                  <a:gd name="connsiteY8" fmla="*/ 1124651 h 1126828"/>
                  <a:gd name="connsiteX9" fmla="*/ 28501 w 494985"/>
                  <a:gd name="connsiteY9" fmla="*/ 1035486 h 1126828"/>
                  <a:gd name="connsiteX10" fmla="*/ 0 w 494985"/>
                  <a:gd name="connsiteY10" fmla="*/ 1006985 h 1126828"/>
                  <a:gd name="connsiteX11" fmla="*/ 0 w 494985"/>
                  <a:gd name="connsiteY11" fmla="*/ 28501 h 1126828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19930"/>
                  <a:gd name="connsiteX1" fmla="*/ 28501 w 494985"/>
                  <a:gd name="connsiteY1" fmla="*/ 0 h 1119930"/>
                  <a:gd name="connsiteX2" fmla="*/ 466484 w 494985"/>
                  <a:gd name="connsiteY2" fmla="*/ 0 h 1119930"/>
                  <a:gd name="connsiteX3" fmla="*/ 494985 w 494985"/>
                  <a:gd name="connsiteY3" fmla="*/ 28501 h 1119930"/>
                  <a:gd name="connsiteX4" fmla="*/ 494985 w 494985"/>
                  <a:gd name="connsiteY4" fmla="*/ 1006985 h 1119930"/>
                  <a:gd name="connsiteX5" fmla="*/ 466484 w 494985"/>
                  <a:gd name="connsiteY5" fmla="*/ 1035486 h 1119930"/>
                  <a:gd name="connsiteX6" fmla="*/ 364775 w 494985"/>
                  <a:gd name="connsiteY6" fmla="*/ 1062739 h 1119930"/>
                  <a:gd name="connsiteX7" fmla="*/ 326675 w 494985"/>
                  <a:gd name="connsiteY7" fmla="*/ 1119889 h 1119930"/>
                  <a:gd name="connsiteX8" fmla="*/ 150463 w 494985"/>
                  <a:gd name="connsiteY8" fmla="*/ 1053215 h 1119930"/>
                  <a:gd name="connsiteX9" fmla="*/ 28501 w 494985"/>
                  <a:gd name="connsiteY9" fmla="*/ 1035486 h 1119930"/>
                  <a:gd name="connsiteX10" fmla="*/ 0 w 494985"/>
                  <a:gd name="connsiteY10" fmla="*/ 1006985 h 1119930"/>
                  <a:gd name="connsiteX11" fmla="*/ 0 w 494985"/>
                  <a:gd name="connsiteY11" fmla="*/ 28501 h 1119930"/>
                  <a:gd name="connsiteX0" fmla="*/ 0 w 494985"/>
                  <a:gd name="connsiteY0" fmla="*/ 28501 h 1120193"/>
                  <a:gd name="connsiteX1" fmla="*/ 28501 w 494985"/>
                  <a:gd name="connsiteY1" fmla="*/ 0 h 1120193"/>
                  <a:gd name="connsiteX2" fmla="*/ 466484 w 494985"/>
                  <a:gd name="connsiteY2" fmla="*/ 0 h 1120193"/>
                  <a:gd name="connsiteX3" fmla="*/ 494985 w 494985"/>
                  <a:gd name="connsiteY3" fmla="*/ 28501 h 1120193"/>
                  <a:gd name="connsiteX4" fmla="*/ 494985 w 494985"/>
                  <a:gd name="connsiteY4" fmla="*/ 1006985 h 1120193"/>
                  <a:gd name="connsiteX5" fmla="*/ 466484 w 494985"/>
                  <a:gd name="connsiteY5" fmla="*/ 1035486 h 1120193"/>
                  <a:gd name="connsiteX6" fmla="*/ 364775 w 494985"/>
                  <a:gd name="connsiteY6" fmla="*/ 1062739 h 1120193"/>
                  <a:gd name="connsiteX7" fmla="*/ 326675 w 494985"/>
                  <a:gd name="connsiteY7" fmla="*/ 1119889 h 1120193"/>
                  <a:gd name="connsiteX8" fmla="*/ 28501 w 494985"/>
                  <a:gd name="connsiteY8" fmla="*/ 1035486 h 1120193"/>
                  <a:gd name="connsiteX9" fmla="*/ 0 w 494985"/>
                  <a:gd name="connsiteY9" fmla="*/ 1006985 h 1120193"/>
                  <a:gd name="connsiteX10" fmla="*/ 0 w 494985"/>
                  <a:gd name="connsiteY10" fmla="*/ 28501 h 1120193"/>
                  <a:gd name="connsiteX0" fmla="*/ 0 w 494985"/>
                  <a:gd name="connsiteY0" fmla="*/ 28501 h 1062739"/>
                  <a:gd name="connsiteX1" fmla="*/ 28501 w 494985"/>
                  <a:gd name="connsiteY1" fmla="*/ 0 h 1062739"/>
                  <a:gd name="connsiteX2" fmla="*/ 466484 w 494985"/>
                  <a:gd name="connsiteY2" fmla="*/ 0 h 1062739"/>
                  <a:gd name="connsiteX3" fmla="*/ 494985 w 494985"/>
                  <a:gd name="connsiteY3" fmla="*/ 28501 h 1062739"/>
                  <a:gd name="connsiteX4" fmla="*/ 494985 w 494985"/>
                  <a:gd name="connsiteY4" fmla="*/ 1006985 h 1062739"/>
                  <a:gd name="connsiteX5" fmla="*/ 466484 w 494985"/>
                  <a:gd name="connsiteY5" fmla="*/ 1035486 h 1062739"/>
                  <a:gd name="connsiteX6" fmla="*/ 364775 w 494985"/>
                  <a:gd name="connsiteY6" fmla="*/ 1062739 h 1062739"/>
                  <a:gd name="connsiteX7" fmla="*/ 28501 w 494985"/>
                  <a:gd name="connsiteY7" fmla="*/ 1035486 h 1062739"/>
                  <a:gd name="connsiteX8" fmla="*/ 0 w 494985"/>
                  <a:gd name="connsiteY8" fmla="*/ 1006985 h 1062739"/>
                  <a:gd name="connsiteX9" fmla="*/ 0 w 494985"/>
                  <a:gd name="connsiteY9" fmla="*/ 28501 h 1062739"/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038340"/>
                  <a:gd name="connsiteX1" fmla="*/ 28501 w 494985"/>
                  <a:gd name="connsiteY1" fmla="*/ 0 h 1038340"/>
                  <a:gd name="connsiteX2" fmla="*/ 466484 w 494985"/>
                  <a:gd name="connsiteY2" fmla="*/ 0 h 1038340"/>
                  <a:gd name="connsiteX3" fmla="*/ 494985 w 494985"/>
                  <a:gd name="connsiteY3" fmla="*/ 28501 h 1038340"/>
                  <a:gd name="connsiteX4" fmla="*/ 494985 w 494985"/>
                  <a:gd name="connsiteY4" fmla="*/ 1006985 h 1038340"/>
                  <a:gd name="connsiteX5" fmla="*/ 466484 w 494985"/>
                  <a:gd name="connsiteY5" fmla="*/ 1035486 h 1038340"/>
                  <a:gd name="connsiteX6" fmla="*/ 153637 w 494985"/>
                  <a:gd name="connsiteY6" fmla="*/ 1037339 h 1038340"/>
                  <a:gd name="connsiteX7" fmla="*/ 28501 w 494985"/>
                  <a:gd name="connsiteY7" fmla="*/ 1035486 h 1038340"/>
                  <a:gd name="connsiteX8" fmla="*/ 0 w 494985"/>
                  <a:gd name="connsiteY8" fmla="*/ 1006985 h 1038340"/>
                  <a:gd name="connsiteX9" fmla="*/ 0 w 494985"/>
                  <a:gd name="connsiteY9" fmla="*/ 28501 h 1038340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274287 w 494985"/>
                  <a:gd name="connsiteY6" fmla="*/ 1037339 h 1038241"/>
                  <a:gd name="connsiteX7" fmla="*/ 153637 w 494985"/>
                  <a:gd name="connsiteY7" fmla="*/ 1037339 h 1038241"/>
                  <a:gd name="connsiteX8" fmla="*/ 28501 w 494985"/>
                  <a:gd name="connsiteY8" fmla="*/ 1035486 h 1038241"/>
                  <a:gd name="connsiteX9" fmla="*/ 0 w 494985"/>
                  <a:gd name="connsiteY9" fmla="*/ 1006985 h 1038241"/>
                  <a:gd name="connsiteX10" fmla="*/ 0 w 494985"/>
                  <a:gd name="connsiteY10" fmla="*/ 28501 h 1038241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369537 w 494985"/>
                  <a:gd name="connsiteY6" fmla="*/ 1030990 h 1038241"/>
                  <a:gd name="connsiteX7" fmla="*/ 274287 w 494985"/>
                  <a:gd name="connsiteY7" fmla="*/ 1037339 h 1038241"/>
                  <a:gd name="connsiteX8" fmla="*/ 153637 w 494985"/>
                  <a:gd name="connsiteY8" fmla="*/ 1037339 h 1038241"/>
                  <a:gd name="connsiteX9" fmla="*/ 28501 w 494985"/>
                  <a:gd name="connsiteY9" fmla="*/ 1035486 h 1038241"/>
                  <a:gd name="connsiteX10" fmla="*/ 0 w 494985"/>
                  <a:gd name="connsiteY10" fmla="*/ 1006985 h 1038241"/>
                  <a:gd name="connsiteX11" fmla="*/ 0 w 494985"/>
                  <a:gd name="connsiteY11" fmla="*/ 28501 h 1038241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0373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1008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7605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0461 w 494985"/>
                  <a:gd name="connsiteY8" fmla="*/ 1040514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57"/>
                  <a:gd name="connsiteX1" fmla="*/ 28501 w 494985"/>
                  <a:gd name="connsiteY1" fmla="*/ 0 h 1100857"/>
                  <a:gd name="connsiteX2" fmla="*/ 466484 w 494985"/>
                  <a:gd name="connsiteY2" fmla="*/ 0 h 1100857"/>
                  <a:gd name="connsiteX3" fmla="*/ 494985 w 494985"/>
                  <a:gd name="connsiteY3" fmla="*/ 28501 h 1100857"/>
                  <a:gd name="connsiteX4" fmla="*/ 494985 w 494985"/>
                  <a:gd name="connsiteY4" fmla="*/ 1006985 h 1100857"/>
                  <a:gd name="connsiteX5" fmla="*/ 466484 w 494985"/>
                  <a:gd name="connsiteY5" fmla="*/ 1035486 h 1100857"/>
                  <a:gd name="connsiteX6" fmla="*/ 369537 w 494985"/>
                  <a:gd name="connsiteY6" fmla="*/ 1030990 h 1100857"/>
                  <a:gd name="connsiteX7" fmla="*/ 198087 w 494985"/>
                  <a:gd name="connsiteY7" fmla="*/ 1100839 h 1100857"/>
                  <a:gd name="connsiteX8" fmla="*/ 148080 w 494985"/>
                  <a:gd name="connsiteY8" fmla="*/ 1033370 h 1100857"/>
                  <a:gd name="connsiteX9" fmla="*/ 28501 w 494985"/>
                  <a:gd name="connsiteY9" fmla="*/ 1035486 h 1100857"/>
                  <a:gd name="connsiteX10" fmla="*/ 0 w 494985"/>
                  <a:gd name="connsiteY10" fmla="*/ 1006985 h 1100857"/>
                  <a:gd name="connsiteX11" fmla="*/ 0 w 494985"/>
                  <a:gd name="connsiteY11" fmla="*/ 28501 h 1100857"/>
                  <a:gd name="connsiteX0" fmla="*/ 0 w 494985"/>
                  <a:gd name="connsiteY0" fmla="*/ 28501 h 1101187"/>
                  <a:gd name="connsiteX1" fmla="*/ 28501 w 494985"/>
                  <a:gd name="connsiteY1" fmla="*/ 0 h 1101187"/>
                  <a:gd name="connsiteX2" fmla="*/ 466484 w 494985"/>
                  <a:gd name="connsiteY2" fmla="*/ 0 h 1101187"/>
                  <a:gd name="connsiteX3" fmla="*/ 494985 w 494985"/>
                  <a:gd name="connsiteY3" fmla="*/ 28501 h 1101187"/>
                  <a:gd name="connsiteX4" fmla="*/ 494985 w 494985"/>
                  <a:gd name="connsiteY4" fmla="*/ 1006985 h 1101187"/>
                  <a:gd name="connsiteX5" fmla="*/ 466484 w 494985"/>
                  <a:gd name="connsiteY5" fmla="*/ 1035486 h 1101187"/>
                  <a:gd name="connsiteX6" fmla="*/ 369537 w 494985"/>
                  <a:gd name="connsiteY6" fmla="*/ 1030990 h 1101187"/>
                  <a:gd name="connsiteX7" fmla="*/ 198087 w 494985"/>
                  <a:gd name="connsiteY7" fmla="*/ 1100839 h 1101187"/>
                  <a:gd name="connsiteX8" fmla="*/ 148080 w 494985"/>
                  <a:gd name="connsiteY8" fmla="*/ 1033370 h 1101187"/>
                  <a:gd name="connsiteX9" fmla="*/ 28501 w 494985"/>
                  <a:gd name="connsiteY9" fmla="*/ 1035486 h 1101187"/>
                  <a:gd name="connsiteX10" fmla="*/ 0 w 494985"/>
                  <a:gd name="connsiteY10" fmla="*/ 1006985 h 1101187"/>
                  <a:gd name="connsiteX11" fmla="*/ 0 w 494985"/>
                  <a:gd name="connsiteY11" fmla="*/ 28501 h 1101187"/>
                  <a:gd name="connsiteX0" fmla="*/ 0 w 494985"/>
                  <a:gd name="connsiteY0" fmla="*/ 28501 h 1101096"/>
                  <a:gd name="connsiteX1" fmla="*/ 28501 w 494985"/>
                  <a:gd name="connsiteY1" fmla="*/ 0 h 1101096"/>
                  <a:gd name="connsiteX2" fmla="*/ 466484 w 494985"/>
                  <a:gd name="connsiteY2" fmla="*/ 0 h 1101096"/>
                  <a:gd name="connsiteX3" fmla="*/ 494985 w 494985"/>
                  <a:gd name="connsiteY3" fmla="*/ 28501 h 1101096"/>
                  <a:gd name="connsiteX4" fmla="*/ 494985 w 494985"/>
                  <a:gd name="connsiteY4" fmla="*/ 1006985 h 1101096"/>
                  <a:gd name="connsiteX5" fmla="*/ 466484 w 494985"/>
                  <a:gd name="connsiteY5" fmla="*/ 1035486 h 1101096"/>
                  <a:gd name="connsiteX6" fmla="*/ 369537 w 494985"/>
                  <a:gd name="connsiteY6" fmla="*/ 1030990 h 1101096"/>
                  <a:gd name="connsiteX7" fmla="*/ 290956 w 494985"/>
                  <a:gd name="connsiteY7" fmla="*/ 1055596 h 1101096"/>
                  <a:gd name="connsiteX8" fmla="*/ 198087 w 494985"/>
                  <a:gd name="connsiteY8" fmla="*/ 1100839 h 1101096"/>
                  <a:gd name="connsiteX9" fmla="*/ 148080 w 494985"/>
                  <a:gd name="connsiteY9" fmla="*/ 1033370 h 1101096"/>
                  <a:gd name="connsiteX10" fmla="*/ 28501 w 494985"/>
                  <a:gd name="connsiteY10" fmla="*/ 1035486 h 1101096"/>
                  <a:gd name="connsiteX11" fmla="*/ 0 w 494985"/>
                  <a:gd name="connsiteY11" fmla="*/ 1006985 h 1101096"/>
                  <a:gd name="connsiteX12" fmla="*/ 0 w 494985"/>
                  <a:gd name="connsiteY12" fmla="*/ 28501 h 1101096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6321"/>
                  <a:gd name="connsiteX1" fmla="*/ 28501 w 494985"/>
                  <a:gd name="connsiteY1" fmla="*/ 0 h 1106321"/>
                  <a:gd name="connsiteX2" fmla="*/ 466484 w 494985"/>
                  <a:gd name="connsiteY2" fmla="*/ 0 h 1106321"/>
                  <a:gd name="connsiteX3" fmla="*/ 494985 w 494985"/>
                  <a:gd name="connsiteY3" fmla="*/ 28501 h 1106321"/>
                  <a:gd name="connsiteX4" fmla="*/ 494985 w 494985"/>
                  <a:gd name="connsiteY4" fmla="*/ 1006985 h 1106321"/>
                  <a:gd name="connsiteX5" fmla="*/ 466484 w 494985"/>
                  <a:gd name="connsiteY5" fmla="*/ 1035486 h 1106321"/>
                  <a:gd name="connsiteX6" fmla="*/ 371918 w 494985"/>
                  <a:gd name="connsiteY6" fmla="*/ 1041471 h 1106321"/>
                  <a:gd name="connsiteX7" fmla="*/ 305243 w 494985"/>
                  <a:gd name="connsiteY7" fmla="*/ 1106317 h 1106321"/>
                  <a:gd name="connsiteX8" fmla="*/ 198087 w 494985"/>
                  <a:gd name="connsiteY8" fmla="*/ 1100839 h 1106321"/>
                  <a:gd name="connsiteX9" fmla="*/ 150462 w 494985"/>
                  <a:gd name="connsiteY9" fmla="*/ 1038611 h 1106321"/>
                  <a:gd name="connsiteX10" fmla="*/ 28501 w 494985"/>
                  <a:gd name="connsiteY10" fmla="*/ 1035486 h 1106321"/>
                  <a:gd name="connsiteX11" fmla="*/ 0 w 494985"/>
                  <a:gd name="connsiteY11" fmla="*/ 1006985 h 1106321"/>
                  <a:gd name="connsiteX12" fmla="*/ 0 w 494985"/>
                  <a:gd name="connsiteY12" fmla="*/ 28501 h 1106321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0462 w 494985"/>
                  <a:gd name="connsiteY9" fmla="*/ 103861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79037 w 494985"/>
                  <a:gd name="connsiteY9" fmla="*/ 10359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153278 w 494985"/>
                  <a:gd name="connsiteY10" fmla="*/ 1037850 h 1102488"/>
                  <a:gd name="connsiteX11" fmla="*/ 28501 w 494985"/>
                  <a:gd name="connsiteY11" fmla="*/ 1035486 h 1102488"/>
                  <a:gd name="connsiteX12" fmla="*/ 0 w 494985"/>
                  <a:gd name="connsiteY12" fmla="*/ 1006985 h 1102488"/>
                  <a:gd name="connsiteX13" fmla="*/ 0 w 494985"/>
                  <a:gd name="connsiteY13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3278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3654"/>
                  <a:gd name="connsiteX1" fmla="*/ 28501 w 494985"/>
                  <a:gd name="connsiteY1" fmla="*/ 0 h 1103654"/>
                  <a:gd name="connsiteX2" fmla="*/ 466484 w 494985"/>
                  <a:gd name="connsiteY2" fmla="*/ 0 h 1103654"/>
                  <a:gd name="connsiteX3" fmla="*/ 494985 w 494985"/>
                  <a:gd name="connsiteY3" fmla="*/ 28501 h 1103654"/>
                  <a:gd name="connsiteX4" fmla="*/ 494985 w 494985"/>
                  <a:gd name="connsiteY4" fmla="*/ 1006985 h 1103654"/>
                  <a:gd name="connsiteX5" fmla="*/ 466484 w 494985"/>
                  <a:gd name="connsiteY5" fmla="*/ 1035486 h 1103654"/>
                  <a:gd name="connsiteX6" fmla="*/ 371918 w 494985"/>
                  <a:gd name="connsiteY6" fmla="*/ 1041471 h 1103654"/>
                  <a:gd name="connsiteX7" fmla="*/ 307624 w 494985"/>
                  <a:gd name="connsiteY7" fmla="*/ 1101077 h 1103654"/>
                  <a:gd name="connsiteX8" fmla="*/ 198087 w 494985"/>
                  <a:gd name="connsiteY8" fmla="*/ 1100839 h 1103654"/>
                  <a:gd name="connsiteX9" fmla="*/ 136609 w 494985"/>
                  <a:gd name="connsiteY9" fmla="*/ 1037850 h 1103654"/>
                  <a:gd name="connsiteX10" fmla="*/ 28501 w 494985"/>
                  <a:gd name="connsiteY10" fmla="*/ 1035486 h 1103654"/>
                  <a:gd name="connsiteX11" fmla="*/ 0 w 494985"/>
                  <a:gd name="connsiteY11" fmla="*/ 1006985 h 1103654"/>
                  <a:gd name="connsiteX12" fmla="*/ 0 w 494985"/>
                  <a:gd name="connsiteY12" fmla="*/ 28501 h 1103654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6240"/>
                  <a:gd name="connsiteX1" fmla="*/ 28501 w 494985"/>
                  <a:gd name="connsiteY1" fmla="*/ 0 h 1106240"/>
                  <a:gd name="connsiteX2" fmla="*/ 466484 w 494985"/>
                  <a:gd name="connsiteY2" fmla="*/ 0 h 1106240"/>
                  <a:gd name="connsiteX3" fmla="*/ 494985 w 494985"/>
                  <a:gd name="connsiteY3" fmla="*/ 28501 h 1106240"/>
                  <a:gd name="connsiteX4" fmla="*/ 494985 w 494985"/>
                  <a:gd name="connsiteY4" fmla="*/ 1006985 h 1106240"/>
                  <a:gd name="connsiteX5" fmla="*/ 466484 w 494985"/>
                  <a:gd name="connsiteY5" fmla="*/ 1035486 h 1106240"/>
                  <a:gd name="connsiteX6" fmla="*/ 369537 w 494985"/>
                  <a:gd name="connsiteY6" fmla="*/ 1033611 h 1106240"/>
                  <a:gd name="connsiteX7" fmla="*/ 307624 w 494985"/>
                  <a:gd name="connsiteY7" fmla="*/ 1101077 h 1106240"/>
                  <a:gd name="connsiteX8" fmla="*/ 198087 w 494985"/>
                  <a:gd name="connsiteY8" fmla="*/ 1100839 h 1106240"/>
                  <a:gd name="connsiteX9" fmla="*/ 158041 w 494985"/>
                  <a:gd name="connsiteY9" fmla="*/ 1035229 h 1106240"/>
                  <a:gd name="connsiteX10" fmla="*/ 28501 w 494985"/>
                  <a:gd name="connsiteY10" fmla="*/ 1035486 h 1106240"/>
                  <a:gd name="connsiteX11" fmla="*/ 0 w 494985"/>
                  <a:gd name="connsiteY11" fmla="*/ 1006985 h 1106240"/>
                  <a:gd name="connsiteX12" fmla="*/ 0 w 494985"/>
                  <a:gd name="connsiteY12" fmla="*/ 28501 h 1106240"/>
                  <a:gd name="connsiteX0" fmla="*/ 0 w 494985"/>
                  <a:gd name="connsiteY0" fmla="*/ 28501 h 1105659"/>
                  <a:gd name="connsiteX1" fmla="*/ 28501 w 494985"/>
                  <a:gd name="connsiteY1" fmla="*/ 0 h 1105659"/>
                  <a:gd name="connsiteX2" fmla="*/ 466484 w 494985"/>
                  <a:gd name="connsiteY2" fmla="*/ 0 h 1105659"/>
                  <a:gd name="connsiteX3" fmla="*/ 494985 w 494985"/>
                  <a:gd name="connsiteY3" fmla="*/ 28501 h 1105659"/>
                  <a:gd name="connsiteX4" fmla="*/ 494985 w 494985"/>
                  <a:gd name="connsiteY4" fmla="*/ 1006985 h 1105659"/>
                  <a:gd name="connsiteX5" fmla="*/ 466484 w 494985"/>
                  <a:gd name="connsiteY5" fmla="*/ 1035486 h 1105659"/>
                  <a:gd name="connsiteX6" fmla="*/ 371918 w 494985"/>
                  <a:gd name="connsiteY6" fmla="*/ 1041470 h 1105659"/>
                  <a:gd name="connsiteX7" fmla="*/ 307624 w 494985"/>
                  <a:gd name="connsiteY7" fmla="*/ 1101077 h 1105659"/>
                  <a:gd name="connsiteX8" fmla="*/ 198087 w 494985"/>
                  <a:gd name="connsiteY8" fmla="*/ 1100839 h 1105659"/>
                  <a:gd name="connsiteX9" fmla="*/ 158041 w 494985"/>
                  <a:gd name="connsiteY9" fmla="*/ 1035229 h 1105659"/>
                  <a:gd name="connsiteX10" fmla="*/ 28501 w 494985"/>
                  <a:gd name="connsiteY10" fmla="*/ 1035486 h 1105659"/>
                  <a:gd name="connsiteX11" fmla="*/ 0 w 494985"/>
                  <a:gd name="connsiteY11" fmla="*/ 1006985 h 1105659"/>
                  <a:gd name="connsiteX12" fmla="*/ 0 w 494985"/>
                  <a:gd name="connsiteY12" fmla="*/ 28501 h 1105659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4264"/>
                  <a:gd name="connsiteX1" fmla="*/ 28501 w 494985"/>
                  <a:gd name="connsiteY1" fmla="*/ 0 h 1104264"/>
                  <a:gd name="connsiteX2" fmla="*/ 466484 w 494985"/>
                  <a:gd name="connsiteY2" fmla="*/ 0 h 1104264"/>
                  <a:gd name="connsiteX3" fmla="*/ 494985 w 494985"/>
                  <a:gd name="connsiteY3" fmla="*/ 28501 h 1104264"/>
                  <a:gd name="connsiteX4" fmla="*/ 494985 w 494985"/>
                  <a:gd name="connsiteY4" fmla="*/ 1006985 h 1104264"/>
                  <a:gd name="connsiteX5" fmla="*/ 466484 w 494985"/>
                  <a:gd name="connsiteY5" fmla="*/ 1035486 h 1104264"/>
                  <a:gd name="connsiteX6" fmla="*/ 364775 w 494985"/>
                  <a:gd name="connsiteY6" fmla="*/ 1036230 h 1104264"/>
                  <a:gd name="connsiteX7" fmla="*/ 312387 w 494985"/>
                  <a:gd name="connsiteY7" fmla="*/ 1098457 h 1104264"/>
                  <a:gd name="connsiteX8" fmla="*/ 198087 w 494985"/>
                  <a:gd name="connsiteY8" fmla="*/ 1100839 h 1104264"/>
                  <a:gd name="connsiteX9" fmla="*/ 158041 w 494985"/>
                  <a:gd name="connsiteY9" fmla="*/ 1035229 h 1104264"/>
                  <a:gd name="connsiteX10" fmla="*/ 28501 w 494985"/>
                  <a:gd name="connsiteY10" fmla="*/ 1035486 h 1104264"/>
                  <a:gd name="connsiteX11" fmla="*/ 0 w 494985"/>
                  <a:gd name="connsiteY11" fmla="*/ 1006985 h 1104264"/>
                  <a:gd name="connsiteX12" fmla="*/ 0 w 494985"/>
                  <a:gd name="connsiteY12" fmla="*/ 28501 h 1104264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312387 w 494985"/>
                  <a:gd name="connsiteY7" fmla="*/ 1098457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198087 w 494985"/>
                  <a:gd name="connsiteY7" fmla="*/ 1100839 h 1100839"/>
                  <a:gd name="connsiteX8" fmla="*/ 158041 w 494985"/>
                  <a:gd name="connsiteY8" fmla="*/ 1035229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289009 w 494985"/>
                  <a:gd name="connsiteY7" fmla="*/ 1064051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64775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52869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40962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13832"/>
                  <a:gd name="connsiteX1" fmla="*/ 28501 w 494985"/>
                  <a:gd name="connsiteY1" fmla="*/ 0 h 1113832"/>
                  <a:gd name="connsiteX2" fmla="*/ 466484 w 494985"/>
                  <a:gd name="connsiteY2" fmla="*/ 0 h 1113832"/>
                  <a:gd name="connsiteX3" fmla="*/ 494985 w 494985"/>
                  <a:gd name="connsiteY3" fmla="*/ 28501 h 1113832"/>
                  <a:gd name="connsiteX4" fmla="*/ 494985 w 494985"/>
                  <a:gd name="connsiteY4" fmla="*/ 1006985 h 1113832"/>
                  <a:gd name="connsiteX5" fmla="*/ 466484 w 494985"/>
                  <a:gd name="connsiteY5" fmla="*/ 1035486 h 1113832"/>
                  <a:gd name="connsiteX6" fmla="*/ 340962 w 494985"/>
                  <a:gd name="connsiteY6" fmla="*/ 1036230 h 1113832"/>
                  <a:gd name="connsiteX7" fmla="*/ 293772 w 494985"/>
                  <a:gd name="connsiteY7" fmla="*/ 1113832 h 1113832"/>
                  <a:gd name="connsiteX8" fmla="*/ 200469 w 494985"/>
                  <a:gd name="connsiteY8" fmla="*/ 1108699 h 1113832"/>
                  <a:gd name="connsiteX9" fmla="*/ 158041 w 494985"/>
                  <a:gd name="connsiteY9" fmla="*/ 1035229 h 1113832"/>
                  <a:gd name="connsiteX10" fmla="*/ 28501 w 494985"/>
                  <a:gd name="connsiteY10" fmla="*/ 1035486 h 1113832"/>
                  <a:gd name="connsiteX11" fmla="*/ 0 w 494985"/>
                  <a:gd name="connsiteY11" fmla="*/ 1006985 h 1113832"/>
                  <a:gd name="connsiteX12" fmla="*/ 0 w 494985"/>
                  <a:gd name="connsiteY12" fmla="*/ 28501 h 111383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305679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4985" h="1108699">
                    <a:moveTo>
                      <a:pt x="0" y="28501"/>
                    </a:moveTo>
                    <a:cubicBezTo>
                      <a:pt x="0" y="12760"/>
                      <a:pt x="12760" y="0"/>
                      <a:pt x="28501" y="0"/>
                    </a:cubicBezTo>
                    <a:lnTo>
                      <a:pt x="466484" y="0"/>
                    </a:lnTo>
                    <a:cubicBezTo>
                      <a:pt x="482225" y="0"/>
                      <a:pt x="494985" y="12760"/>
                      <a:pt x="494985" y="28501"/>
                    </a:cubicBezTo>
                    <a:lnTo>
                      <a:pt x="494985" y="1006985"/>
                    </a:lnTo>
                    <a:cubicBezTo>
                      <a:pt x="494985" y="1022726"/>
                      <a:pt x="482225" y="1035486"/>
                      <a:pt x="466484" y="1035486"/>
                    </a:cubicBezTo>
                    <a:lnTo>
                      <a:pt x="340962" y="1036230"/>
                    </a:lnTo>
                    <a:lnTo>
                      <a:pt x="305679" y="1108591"/>
                    </a:lnTo>
                    <a:lnTo>
                      <a:pt x="186182" y="1108699"/>
                    </a:lnTo>
                    <a:lnTo>
                      <a:pt x="158041" y="1035229"/>
                    </a:lnTo>
                    <a:lnTo>
                      <a:pt x="28501" y="1035486"/>
                    </a:lnTo>
                    <a:cubicBezTo>
                      <a:pt x="12760" y="1035486"/>
                      <a:pt x="0" y="1022726"/>
                      <a:pt x="0" y="1006985"/>
                    </a:cubicBezTo>
                    <a:lnTo>
                      <a:pt x="0" y="28501"/>
                    </a:lnTo>
                    <a:close/>
                  </a:path>
                </a:pathLst>
              </a:custGeom>
              <a:solidFill>
                <a:srgbClr val="008272"/>
              </a:solidFill>
              <a:ln w="9525" cap="flat" cmpd="sng" algn="ctr">
                <a:noFill/>
                <a:prstDash val="dash"/>
              </a:ln>
              <a:effectLst/>
            </p:spPr>
            <p:txBody>
              <a:bodyPr lIns="18288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Others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Spark, </a:t>
                </a:r>
                <a:b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</a:b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in-memory, 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ISV engines</a:t>
                </a:r>
              </a:p>
            </p:txBody>
          </p:sp>
          <p:grpSp>
            <p:nvGrpSpPr>
              <p:cNvPr id="24" name="Group 85"/>
              <p:cNvGrpSpPr/>
              <p:nvPr/>
            </p:nvGrpSpPr>
            <p:grpSpPr>
              <a:xfrm>
                <a:off x="2893160" y="5666724"/>
                <a:ext cx="4149597" cy="644912"/>
                <a:chOff x="2499285" y="4541714"/>
                <a:chExt cx="3308943" cy="727355"/>
              </a:xfrm>
              <a:solidFill>
                <a:srgbClr val="FFFFFF">
                  <a:lumMod val="85000"/>
                </a:srgbClr>
              </a:solidFill>
            </p:grpSpPr>
            <p:grpSp>
              <p:nvGrpSpPr>
                <p:cNvPr id="29" name="Group 90"/>
                <p:cNvGrpSpPr/>
                <p:nvPr/>
              </p:nvGrpSpPr>
              <p:grpSpPr>
                <a:xfrm>
                  <a:off x="2499285" y="4541714"/>
                  <a:ext cx="3001931" cy="727355"/>
                  <a:chOff x="2573538" y="3889648"/>
                  <a:chExt cx="3001931" cy="727355"/>
                </a:xfrm>
                <a:grpFill/>
              </p:grpSpPr>
              <p:sp>
                <p:nvSpPr>
                  <p:cNvPr id="33" name="Rounded Rectangle 94"/>
                  <p:cNvSpPr>
                    <a:spLocks/>
                  </p:cNvSpPr>
                  <p:nvPr/>
                </p:nvSpPr>
                <p:spPr>
                  <a:xfrm>
                    <a:off x="2573538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1</a:t>
                    </a:r>
                  </a:p>
                </p:txBody>
              </p:sp>
              <p:sp>
                <p:nvSpPr>
                  <p:cNvPr id="34" name="Rounded Rectangle 95"/>
                  <p:cNvSpPr>
                    <a:spLocks/>
                  </p:cNvSpPr>
                  <p:nvPr/>
                </p:nvSpPr>
                <p:spPr>
                  <a:xfrm>
                    <a:off x="2876974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35" name="Rounded Rectangle 96"/>
                  <p:cNvSpPr>
                    <a:spLocks/>
                  </p:cNvSpPr>
                  <p:nvPr/>
                </p:nvSpPr>
                <p:spPr>
                  <a:xfrm>
                    <a:off x="3180410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36" name="Rounded Rectangle 97"/>
                  <p:cNvSpPr>
                    <a:spLocks/>
                  </p:cNvSpPr>
                  <p:nvPr/>
                </p:nvSpPr>
                <p:spPr>
                  <a:xfrm>
                    <a:off x="3483846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37" name="Rounded Rectangle 98"/>
                  <p:cNvSpPr>
                    <a:spLocks/>
                  </p:cNvSpPr>
                  <p:nvPr/>
                </p:nvSpPr>
                <p:spPr>
                  <a:xfrm>
                    <a:off x="3787282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38" name="Rounded Rectangle 99"/>
                  <p:cNvSpPr>
                    <a:spLocks/>
                  </p:cNvSpPr>
                  <p:nvPr/>
                </p:nvSpPr>
                <p:spPr>
                  <a:xfrm>
                    <a:off x="4090718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39" name="Rounded Rectangle 100"/>
                  <p:cNvSpPr>
                    <a:spLocks/>
                  </p:cNvSpPr>
                  <p:nvPr/>
                </p:nvSpPr>
                <p:spPr>
                  <a:xfrm>
                    <a:off x="4394154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0" name="Rounded Rectangle 101"/>
                  <p:cNvSpPr>
                    <a:spLocks/>
                  </p:cNvSpPr>
                  <p:nvPr/>
                </p:nvSpPr>
                <p:spPr>
                  <a:xfrm>
                    <a:off x="4697590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1" name="Rounded Rectangle 111"/>
                  <p:cNvSpPr>
                    <a:spLocks/>
                  </p:cNvSpPr>
                  <p:nvPr/>
                </p:nvSpPr>
                <p:spPr>
                  <a:xfrm>
                    <a:off x="5001026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2" name="Rounded Rectangle 112"/>
                  <p:cNvSpPr>
                    <a:spLocks/>
                  </p:cNvSpPr>
                  <p:nvPr/>
                </p:nvSpPr>
                <p:spPr>
                  <a:xfrm>
                    <a:off x="5304462" y="3889648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3" name="Rounded Rectangle 113"/>
                  <p:cNvSpPr>
                    <a:spLocks/>
                  </p:cNvSpPr>
                  <p:nvPr/>
                </p:nvSpPr>
                <p:spPr>
                  <a:xfrm>
                    <a:off x="2573538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4" name="Rounded Rectangle 114"/>
                  <p:cNvSpPr>
                    <a:spLocks/>
                  </p:cNvSpPr>
                  <p:nvPr/>
                </p:nvSpPr>
                <p:spPr>
                  <a:xfrm>
                    <a:off x="2876974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5" name="Rounded Rectangle 115"/>
                  <p:cNvSpPr>
                    <a:spLocks/>
                  </p:cNvSpPr>
                  <p:nvPr/>
                </p:nvSpPr>
                <p:spPr>
                  <a:xfrm>
                    <a:off x="3180410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6" name="Rounded Rectangle 116"/>
                  <p:cNvSpPr>
                    <a:spLocks/>
                  </p:cNvSpPr>
                  <p:nvPr/>
                </p:nvSpPr>
                <p:spPr>
                  <a:xfrm>
                    <a:off x="3483846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7" name="Rounded Rectangle 117"/>
                  <p:cNvSpPr>
                    <a:spLocks/>
                  </p:cNvSpPr>
                  <p:nvPr/>
                </p:nvSpPr>
                <p:spPr>
                  <a:xfrm>
                    <a:off x="3787282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8" name="Rounded Rectangle 118"/>
                  <p:cNvSpPr>
                    <a:spLocks/>
                  </p:cNvSpPr>
                  <p:nvPr/>
                </p:nvSpPr>
                <p:spPr>
                  <a:xfrm>
                    <a:off x="4090718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49" name="Rounded Rectangle 119"/>
                  <p:cNvSpPr>
                    <a:spLocks/>
                  </p:cNvSpPr>
                  <p:nvPr/>
                </p:nvSpPr>
                <p:spPr>
                  <a:xfrm>
                    <a:off x="4394154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0" name="Rounded Rectangle 120"/>
                  <p:cNvSpPr>
                    <a:spLocks/>
                  </p:cNvSpPr>
                  <p:nvPr/>
                </p:nvSpPr>
                <p:spPr>
                  <a:xfrm>
                    <a:off x="4697590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1" name="Rounded Rectangle 121"/>
                  <p:cNvSpPr>
                    <a:spLocks/>
                  </p:cNvSpPr>
                  <p:nvPr/>
                </p:nvSpPr>
                <p:spPr>
                  <a:xfrm>
                    <a:off x="5001026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2" name="Rounded Rectangle 122"/>
                  <p:cNvSpPr>
                    <a:spLocks/>
                  </p:cNvSpPr>
                  <p:nvPr/>
                </p:nvSpPr>
                <p:spPr>
                  <a:xfrm>
                    <a:off x="5304462" y="4145352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3" name="Rounded Rectangle 123"/>
                  <p:cNvSpPr>
                    <a:spLocks/>
                  </p:cNvSpPr>
                  <p:nvPr/>
                </p:nvSpPr>
                <p:spPr>
                  <a:xfrm>
                    <a:off x="2573538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4" name="Rounded Rectangle 124"/>
                  <p:cNvSpPr>
                    <a:spLocks/>
                  </p:cNvSpPr>
                  <p:nvPr/>
                </p:nvSpPr>
                <p:spPr>
                  <a:xfrm>
                    <a:off x="2876974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5" name="Rounded Rectangle 125"/>
                  <p:cNvSpPr>
                    <a:spLocks/>
                  </p:cNvSpPr>
                  <p:nvPr/>
                </p:nvSpPr>
                <p:spPr>
                  <a:xfrm>
                    <a:off x="3180410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6" name="Rounded Rectangle 126"/>
                  <p:cNvSpPr>
                    <a:spLocks/>
                  </p:cNvSpPr>
                  <p:nvPr/>
                </p:nvSpPr>
                <p:spPr>
                  <a:xfrm>
                    <a:off x="3483846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7" name="Rounded Rectangle 127"/>
                  <p:cNvSpPr>
                    <a:spLocks/>
                  </p:cNvSpPr>
                  <p:nvPr/>
                </p:nvSpPr>
                <p:spPr>
                  <a:xfrm>
                    <a:off x="3787282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8" name="Rounded Rectangle 128"/>
                  <p:cNvSpPr>
                    <a:spLocks/>
                  </p:cNvSpPr>
                  <p:nvPr/>
                </p:nvSpPr>
                <p:spPr>
                  <a:xfrm>
                    <a:off x="4090718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59" name="Rounded Rectangle 129"/>
                  <p:cNvSpPr>
                    <a:spLocks/>
                  </p:cNvSpPr>
                  <p:nvPr/>
                </p:nvSpPr>
                <p:spPr>
                  <a:xfrm>
                    <a:off x="4394154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 dirty="0">
                      <a:ln>
                        <a:noFill/>
                      </a:ln>
                      <a:noFill/>
                      <a:effectLst/>
                      <a:uLnTx/>
                      <a:uFillTx/>
                      <a:latin typeface="Segoe UI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60" name="Rounded Rectangle 130"/>
                  <p:cNvSpPr>
                    <a:spLocks/>
                  </p:cNvSpPr>
                  <p:nvPr/>
                </p:nvSpPr>
                <p:spPr>
                  <a:xfrm>
                    <a:off x="4697590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 dirty="0">
                      <a:ln>
                        <a:noFill/>
                      </a:ln>
                      <a:noFill/>
                      <a:effectLst/>
                      <a:uLnTx/>
                      <a:uFillTx/>
                      <a:latin typeface="Segoe UI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61" name="Rounded Rectangle 131"/>
                  <p:cNvSpPr>
                    <a:spLocks/>
                  </p:cNvSpPr>
                  <p:nvPr/>
                </p:nvSpPr>
                <p:spPr>
                  <a:xfrm>
                    <a:off x="5001026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  <p:sp>
                <p:nvSpPr>
                  <p:cNvPr id="62" name="Rounded Rectangle 132"/>
                  <p:cNvSpPr>
                    <a:spLocks/>
                  </p:cNvSpPr>
                  <p:nvPr/>
                </p:nvSpPr>
                <p:spPr>
                  <a:xfrm>
                    <a:off x="5304462" y="4397694"/>
                    <a:ext cx="271007" cy="219309"/>
                  </a:xfrm>
                  <a:prstGeom prst="roundRect">
                    <a:avLst>
                      <a:gd name="adj" fmla="val 5758"/>
                    </a:avLst>
                  </a:prstGeom>
                  <a:grp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b"/>
                  <a:lstStyle>
                    <a:defPPr>
                      <a:defRPr lang="en-US"/>
                    </a:defPPr>
                    <a:lvl1pPr marL="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4572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700" b="0" i="0" u="none" strike="noStrike" kern="1200" cap="none" spc="0" normalizeH="0" baseline="0" noProof="0" dirty="0">
                        <a:ln>
                          <a:noFill/>
                        </a:ln>
                        <a:noFill/>
                        <a:effectLst/>
                        <a:uLnTx/>
                        <a:uFillTx/>
                        <a:latin typeface="Segoe UI"/>
                        <a:ea typeface="+mn-ea"/>
                        <a:cs typeface="Arial"/>
                      </a:rPr>
                      <a:t>°</a:t>
                    </a:r>
                  </a:p>
                </p:txBody>
              </p:sp>
            </p:grpSp>
            <p:sp>
              <p:nvSpPr>
                <p:cNvPr id="30" name="Rounded Rectangle 91"/>
                <p:cNvSpPr>
                  <a:spLocks/>
                </p:cNvSpPr>
                <p:nvPr/>
              </p:nvSpPr>
              <p:spPr>
                <a:xfrm>
                  <a:off x="5537221" y="4541714"/>
                  <a:ext cx="271007" cy="219309"/>
                </a:xfrm>
                <a:prstGeom prst="roundRect">
                  <a:avLst>
                    <a:gd name="adj" fmla="val 5758"/>
                  </a:avLst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rIns="0" rtlCol="0" anchor="b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700" b="0" i="0" u="none" strike="noStrike" kern="1200" cap="none" spc="0" normalizeH="0" baseline="0" noProof="0" dirty="0">
                      <a:ln>
                        <a:noFill/>
                      </a:ln>
                      <a:noFill/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°</a:t>
                  </a:r>
                </a:p>
              </p:txBody>
            </p:sp>
            <p:sp>
              <p:nvSpPr>
                <p:cNvPr id="31" name="Rounded Rectangle 92"/>
                <p:cNvSpPr>
                  <a:spLocks/>
                </p:cNvSpPr>
                <p:nvPr/>
              </p:nvSpPr>
              <p:spPr>
                <a:xfrm>
                  <a:off x="5537221" y="4797418"/>
                  <a:ext cx="271007" cy="219309"/>
                </a:xfrm>
                <a:prstGeom prst="roundRect">
                  <a:avLst>
                    <a:gd name="adj" fmla="val 5758"/>
                  </a:avLst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rIns="0" rtlCol="0" anchor="b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700" b="0" i="0" u="none" strike="noStrike" kern="1200" cap="none" spc="0" normalizeH="0" baseline="0" noProof="0" dirty="0">
                      <a:ln>
                        <a:noFill/>
                      </a:ln>
                      <a:noFill/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°</a:t>
                  </a:r>
                </a:p>
              </p:txBody>
            </p:sp>
            <p:sp>
              <p:nvSpPr>
                <p:cNvPr id="32" name="Rounded Rectangle 93"/>
                <p:cNvSpPr>
                  <a:spLocks/>
                </p:cNvSpPr>
                <p:nvPr/>
              </p:nvSpPr>
              <p:spPr>
                <a:xfrm>
                  <a:off x="5537221" y="5049760"/>
                  <a:ext cx="271007" cy="219309"/>
                </a:xfrm>
                <a:prstGeom prst="roundRect">
                  <a:avLst>
                    <a:gd name="adj" fmla="val 5758"/>
                  </a:avLst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rIns="0" rtlCol="0" anchor="b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700" b="1" i="0" u="none" strike="noStrike" kern="1200" cap="none" spc="0" normalizeH="0" baseline="0" noProof="0" dirty="0">
                      <a:ln>
                        <a:noFill/>
                      </a:ln>
                      <a:noFill/>
                      <a:effectLst/>
                      <a:uLnTx/>
                      <a:uFillTx/>
                      <a:latin typeface="Segoe UI"/>
                      <a:ea typeface="+mn-ea"/>
                      <a:cs typeface="Arial"/>
                    </a:rPr>
                    <a:t>N</a:t>
                  </a:r>
                </a:p>
              </p:txBody>
            </p:sp>
          </p:grpSp>
          <p:sp>
            <p:nvSpPr>
              <p:cNvPr id="25" name="Rounded Rectangle 37"/>
              <p:cNvSpPr>
                <a:spLocks/>
              </p:cNvSpPr>
              <p:nvPr/>
            </p:nvSpPr>
            <p:spPr>
              <a:xfrm>
                <a:off x="2893159" y="4443822"/>
                <a:ext cx="548640" cy="817853"/>
              </a:xfrm>
              <a:custGeom>
                <a:avLst/>
                <a:gdLst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100841"/>
                  <a:gd name="connsiteX1" fmla="*/ 28501 w 494985"/>
                  <a:gd name="connsiteY1" fmla="*/ 0 h 1100841"/>
                  <a:gd name="connsiteX2" fmla="*/ 466484 w 494985"/>
                  <a:gd name="connsiteY2" fmla="*/ 0 h 1100841"/>
                  <a:gd name="connsiteX3" fmla="*/ 494985 w 494985"/>
                  <a:gd name="connsiteY3" fmla="*/ 28501 h 1100841"/>
                  <a:gd name="connsiteX4" fmla="*/ 494985 w 494985"/>
                  <a:gd name="connsiteY4" fmla="*/ 1006985 h 1100841"/>
                  <a:gd name="connsiteX5" fmla="*/ 466484 w 494985"/>
                  <a:gd name="connsiteY5" fmla="*/ 1035486 h 1100841"/>
                  <a:gd name="connsiteX6" fmla="*/ 202850 w 494985"/>
                  <a:gd name="connsiteY6" fmla="*/ 1100839 h 1100841"/>
                  <a:gd name="connsiteX7" fmla="*/ 28501 w 494985"/>
                  <a:gd name="connsiteY7" fmla="*/ 1035486 h 1100841"/>
                  <a:gd name="connsiteX8" fmla="*/ 0 w 494985"/>
                  <a:gd name="connsiteY8" fmla="*/ 1006985 h 1100841"/>
                  <a:gd name="connsiteX9" fmla="*/ 0 w 494985"/>
                  <a:gd name="connsiteY9" fmla="*/ 28501 h 1100841"/>
                  <a:gd name="connsiteX0" fmla="*/ 0 w 494985"/>
                  <a:gd name="connsiteY0" fmla="*/ 28501 h 1122703"/>
                  <a:gd name="connsiteX1" fmla="*/ 28501 w 494985"/>
                  <a:gd name="connsiteY1" fmla="*/ 0 h 1122703"/>
                  <a:gd name="connsiteX2" fmla="*/ 466484 w 494985"/>
                  <a:gd name="connsiteY2" fmla="*/ 0 h 1122703"/>
                  <a:gd name="connsiteX3" fmla="*/ 494985 w 494985"/>
                  <a:gd name="connsiteY3" fmla="*/ 28501 h 1122703"/>
                  <a:gd name="connsiteX4" fmla="*/ 494985 w 494985"/>
                  <a:gd name="connsiteY4" fmla="*/ 1006985 h 1122703"/>
                  <a:gd name="connsiteX5" fmla="*/ 466484 w 494985"/>
                  <a:gd name="connsiteY5" fmla="*/ 1035486 h 1122703"/>
                  <a:gd name="connsiteX6" fmla="*/ 326675 w 494985"/>
                  <a:gd name="connsiteY6" fmla="*/ 1119889 h 1122703"/>
                  <a:gd name="connsiteX7" fmla="*/ 202850 w 494985"/>
                  <a:gd name="connsiteY7" fmla="*/ 1100839 h 1122703"/>
                  <a:gd name="connsiteX8" fmla="*/ 28501 w 494985"/>
                  <a:gd name="connsiteY8" fmla="*/ 1035486 h 1122703"/>
                  <a:gd name="connsiteX9" fmla="*/ 0 w 494985"/>
                  <a:gd name="connsiteY9" fmla="*/ 1006985 h 1122703"/>
                  <a:gd name="connsiteX10" fmla="*/ 0 w 494985"/>
                  <a:gd name="connsiteY10" fmla="*/ 28501 h 1122703"/>
                  <a:gd name="connsiteX0" fmla="*/ 0 w 494985"/>
                  <a:gd name="connsiteY0" fmla="*/ 28501 h 1120138"/>
                  <a:gd name="connsiteX1" fmla="*/ 28501 w 494985"/>
                  <a:gd name="connsiteY1" fmla="*/ 0 h 1120138"/>
                  <a:gd name="connsiteX2" fmla="*/ 466484 w 494985"/>
                  <a:gd name="connsiteY2" fmla="*/ 0 h 1120138"/>
                  <a:gd name="connsiteX3" fmla="*/ 494985 w 494985"/>
                  <a:gd name="connsiteY3" fmla="*/ 28501 h 1120138"/>
                  <a:gd name="connsiteX4" fmla="*/ 494985 w 494985"/>
                  <a:gd name="connsiteY4" fmla="*/ 1006985 h 1120138"/>
                  <a:gd name="connsiteX5" fmla="*/ 466484 w 494985"/>
                  <a:gd name="connsiteY5" fmla="*/ 1035486 h 1120138"/>
                  <a:gd name="connsiteX6" fmla="*/ 364775 w 494985"/>
                  <a:gd name="connsiteY6" fmla="*/ 1062739 h 1120138"/>
                  <a:gd name="connsiteX7" fmla="*/ 326675 w 494985"/>
                  <a:gd name="connsiteY7" fmla="*/ 1119889 h 1120138"/>
                  <a:gd name="connsiteX8" fmla="*/ 202850 w 494985"/>
                  <a:gd name="connsiteY8" fmla="*/ 1100839 h 1120138"/>
                  <a:gd name="connsiteX9" fmla="*/ 28501 w 494985"/>
                  <a:gd name="connsiteY9" fmla="*/ 1035486 h 1120138"/>
                  <a:gd name="connsiteX10" fmla="*/ 0 w 494985"/>
                  <a:gd name="connsiteY10" fmla="*/ 1006985 h 1120138"/>
                  <a:gd name="connsiteX11" fmla="*/ 0 w 494985"/>
                  <a:gd name="connsiteY11" fmla="*/ 28501 h 1120138"/>
                  <a:gd name="connsiteX0" fmla="*/ 0 w 494985"/>
                  <a:gd name="connsiteY0" fmla="*/ 28501 h 1126828"/>
                  <a:gd name="connsiteX1" fmla="*/ 28501 w 494985"/>
                  <a:gd name="connsiteY1" fmla="*/ 0 h 1126828"/>
                  <a:gd name="connsiteX2" fmla="*/ 466484 w 494985"/>
                  <a:gd name="connsiteY2" fmla="*/ 0 h 1126828"/>
                  <a:gd name="connsiteX3" fmla="*/ 494985 w 494985"/>
                  <a:gd name="connsiteY3" fmla="*/ 28501 h 1126828"/>
                  <a:gd name="connsiteX4" fmla="*/ 494985 w 494985"/>
                  <a:gd name="connsiteY4" fmla="*/ 1006985 h 1126828"/>
                  <a:gd name="connsiteX5" fmla="*/ 466484 w 494985"/>
                  <a:gd name="connsiteY5" fmla="*/ 1035486 h 1126828"/>
                  <a:gd name="connsiteX6" fmla="*/ 364775 w 494985"/>
                  <a:gd name="connsiteY6" fmla="*/ 1062739 h 1126828"/>
                  <a:gd name="connsiteX7" fmla="*/ 326675 w 494985"/>
                  <a:gd name="connsiteY7" fmla="*/ 1119889 h 1126828"/>
                  <a:gd name="connsiteX8" fmla="*/ 212375 w 494985"/>
                  <a:gd name="connsiteY8" fmla="*/ 1124651 h 1126828"/>
                  <a:gd name="connsiteX9" fmla="*/ 28501 w 494985"/>
                  <a:gd name="connsiteY9" fmla="*/ 1035486 h 1126828"/>
                  <a:gd name="connsiteX10" fmla="*/ 0 w 494985"/>
                  <a:gd name="connsiteY10" fmla="*/ 1006985 h 1126828"/>
                  <a:gd name="connsiteX11" fmla="*/ 0 w 494985"/>
                  <a:gd name="connsiteY11" fmla="*/ 28501 h 1126828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45700 w 494985"/>
                  <a:gd name="connsiteY9" fmla="*/ 1038927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26922"/>
                  <a:gd name="connsiteX1" fmla="*/ 28501 w 494985"/>
                  <a:gd name="connsiteY1" fmla="*/ 0 h 1126922"/>
                  <a:gd name="connsiteX2" fmla="*/ 466484 w 494985"/>
                  <a:gd name="connsiteY2" fmla="*/ 0 h 1126922"/>
                  <a:gd name="connsiteX3" fmla="*/ 494985 w 494985"/>
                  <a:gd name="connsiteY3" fmla="*/ 28501 h 1126922"/>
                  <a:gd name="connsiteX4" fmla="*/ 494985 w 494985"/>
                  <a:gd name="connsiteY4" fmla="*/ 1006985 h 1126922"/>
                  <a:gd name="connsiteX5" fmla="*/ 466484 w 494985"/>
                  <a:gd name="connsiteY5" fmla="*/ 1035486 h 1126922"/>
                  <a:gd name="connsiteX6" fmla="*/ 364775 w 494985"/>
                  <a:gd name="connsiteY6" fmla="*/ 1062739 h 1126922"/>
                  <a:gd name="connsiteX7" fmla="*/ 326675 w 494985"/>
                  <a:gd name="connsiteY7" fmla="*/ 1119889 h 1126922"/>
                  <a:gd name="connsiteX8" fmla="*/ 212375 w 494985"/>
                  <a:gd name="connsiteY8" fmla="*/ 1124651 h 1126922"/>
                  <a:gd name="connsiteX9" fmla="*/ 150463 w 494985"/>
                  <a:gd name="connsiteY9" fmla="*/ 1053215 h 1126922"/>
                  <a:gd name="connsiteX10" fmla="*/ 28501 w 494985"/>
                  <a:gd name="connsiteY10" fmla="*/ 1035486 h 1126922"/>
                  <a:gd name="connsiteX11" fmla="*/ 0 w 494985"/>
                  <a:gd name="connsiteY11" fmla="*/ 1006985 h 1126922"/>
                  <a:gd name="connsiteX12" fmla="*/ 0 w 494985"/>
                  <a:gd name="connsiteY12" fmla="*/ 28501 h 1126922"/>
                  <a:gd name="connsiteX0" fmla="*/ 0 w 494985"/>
                  <a:gd name="connsiteY0" fmla="*/ 28501 h 1119930"/>
                  <a:gd name="connsiteX1" fmla="*/ 28501 w 494985"/>
                  <a:gd name="connsiteY1" fmla="*/ 0 h 1119930"/>
                  <a:gd name="connsiteX2" fmla="*/ 466484 w 494985"/>
                  <a:gd name="connsiteY2" fmla="*/ 0 h 1119930"/>
                  <a:gd name="connsiteX3" fmla="*/ 494985 w 494985"/>
                  <a:gd name="connsiteY3" fmla="*/ 28501 h 1119930"/>
                  <a:gd name="connsiteX4" fmla="*/ 494985 w 494985"/>
                  <a:gd name="connsiteY4" fmla="*/ 1006985 h 1119930"/>
                  <a:gd name="connsiteX5" fmla="*/ 466484 w 494985"/>
                  <a:gd name="connsiteY5" fmla="*/ 1035486 h 1119930"/>
                  <a:gd name="connsiteX6" fmla="*/ 364775 w 494985"/>
                  <a:gd name="connsiteY6" fmla="*/ 1062739 h 1119930"/>
                  <a:gd name="connsiteX7" fmla="*/ 326675 w 494985"/>
                  <a:gd name="connsiteY7" fmla="*/ 1119889 h 1119930"/>
                  <a:gd name="connsiteX8" fmla="*/ 150463 w 494985"/>
                  <a:gd name="connsiteY8" fmla="*/ 1053215 h 1119930"/>
                  <a:gd name="connsiteX9" fmla="*/ 28501 w 494985"/>
                  <a:gd name="connsiteY9" fmla="*/ 1035486 h 1119930"/>
                  <a:gd name="connsiteX10" fmla="*/ 0 w 494985"/>
                  <a:gd name="connsiteY10" fmla="*/ 1006985 h 1119930"/>
                  <a:gd name="connsiteX11" fmla="*/ 0 w 494985"/>
                  <a:gd name="connsiteY11" fmla="*/ 28501 h 1119930"/>
                  <a:gd name="connsiteX0" fmla="*/ 0 w 494985"/>
                  <a:gd name="connsiteY0" fmla="*/ 28501 h 1120193"/>
                  <a:gd name="connsiteX1" fmla="*/ 28501 w 494985"/>
                  <a:gd name="connsiteY1" fmla="*/ 0 h 1120193"/>
                  <a:gd name="connsiteX2" fmla="*/ 466484 w 494985"/>
                  <a:gd name="connsiteY2" fmla="*/ 0 h 1120193"/>
                  <a:gd name="connsiteX3" fmla="*/ 494985 w 494985"/>
                  <a:gd name="connsiteY3" fmla="*/ 28501 h 1120193"/>
                  <a:gd name="connsiteX4" fmla="*/ 494985 w 494985"/>
                  <a:gd name="connsiteY4" fmla="*/ 1006985 h 1120193"/>
                  <a:gd name="connsiteX5" fmla="*/ 466484 w 494985"/>
                  <a:gd name="connsiteY5" fmla="*/ 1035486 h 1120193"/>
                  <a:gd name="connsiteX6" fmla="*/ 364775 w 494985"/>
                  <a:gd name="connsiteY6" fmla="*/ 1062739 h 1120193"/>
                  <a:gd name="connsiteX7" fmla="*/ 326675 w 494985"/>
                  <a:gd name="connsiteY7" fmla="*/ 1119889 h 1120193"/>
                  <a:gd name="connsiteX8" fmla="*/ 28501 w 494985"/>
                  <a:gd name="connsiteY8" fmla="*/ 1035486 h 1120193"/>
                  <a:gd name="connsiteX9" fmla="*/ 0 w 494985"/>
                  <a:gd name="connsiteY9" fmla="*/ 1006985 h 1120193"/>
                  <a:gd name="connsiteX10" fmla="*/ 0 w 494985"/>
                  <a:gd name="connsiteY10" fmla="*/ 28501 h 1120193"/>
                  <a:gd name="connsiteX0" fmla="*/ 0 w 494985"/>
                  <a:gd name="connsiteY0" fmla="*/ 28501 h 1062739"/>
                  <a:gd name="connsiteX1" fmla="*/ 28501 w 494985"/>
                  <a:gd name="connsiteY1" fmla="*/ 0 h 1062739"/>
                  <a:gd name="connsiteX2" fmla="*/ 466484 w 494985"/>
                  <a:gd name="connsiteY2" fmla="*/ 0 h 1062739"/>
                  <a:gd name="connsiteX3" fmla="*/ 494985 w 494985"/>
                  <a:gd name="connsiteY3" fmla="*/ 28501 h 1062739"/>
                  <a:gd name="connsiteX4" fmla="*/ 494985 w 494985"/>
                  <a:gd name="connsiteY4" fmla="*/ 1006985 h 1062739"/>
                  <a:gd name="connsiteX5" fmla="*/ 466484 w 494985"/>
                  <a:gd name="connsiteY5" fmla="*/ 1035486 h 1062739"/>
                  <a:gd name="connsiteX6" fmla="*/ 364775 w 494985"/>
                  <a:gd name="connsiteY6" fmla="*/ 1062739 h 1062739"/>
                  <a:gd name="connsiteX7" fmla="*/ 28501 w 494985"/>
                  <a:gd name="connsiteY7" fmla="*/ 1035486 h 1062739"/>
                  <a:gd name="connsiteX8" fmla="*/ 0 w 494985"/>
                  <a:gd name="connsiteY8" fmla="*/ 1006985 h 1062739"/>
                  <a:gd name="connsiteX9" fmla="*/ 0 w 494985"/>
                  <a:gd name="connsiteY9" fmla="*/ 28501 h 1062739"/>
                  <a:gd name="connsiteX0" fmla="*/ 0 w 494985"/>
                  <a:gd name="connsiteY0" fmla="*/ 28501 h 1035486"/>
                  <a:gd name="connsiteX1" fmla="*/ 28501 w 494985"/>
                  <a:gd name="connsiteY1" fmla="*/ 0 h 1035486"/>
                  <a:gd name="connsiteX2" fmla="*/ 466484 w 494985"/>
                  <a:gd name="connsiteY2" fmla="*/ 0 h 1035486"/>
                  <a:gd name="connsiteX3" fmla="*/ 494985 w 494985"/>
                  <a:gd name="connsiteY3" fmla="*/ 28501 h 1035486"/>
                  <a:gd name="connsiteX4" fmla="*/ 494985 w 494985"/>
                  <a:gd name="connsiteY4" fmla="*/ 1006985 h 1035486"/>
                  <a:gd name="connsiteX5" fmla="*/ 466484 w 494985"/>
                  <a:gd name="connsiteY5" fmla="*/ 1035486 h 1035486"/>
                  <a:gd name="connsiteX6" fmla="*/ 28501 w 494985"/>
                  <a:gd name="connsiteY6" fmla="*/ 1035486 h 1035486"/>
                  <a:gd name="connsiteX7" fmla="*/ 0 w 494985"/>
                  <a:gd name="connsiteY7" fmla="*/ 1006985 h 1035486"/>
                  <a:gd name="connsiteX8" fmla="*/ 0 w 494985"/>
                  <a:gd name="connsiteY8" fmla="*/ 28501 h 1035486"/>
                  <a:gd name="connsiteX0" fmla="*/ 0 w 494985"/>
                  <a:gd name="connsiteY0" fmla="*/ 28501 h 1038340"/>
                  <a:gd name="connsiteX1" fmla="*/ 28501 w 494985"/>
                  <a:gd name="connsiteY1" fmla="*/ 0 h 1038340"/>
                  <a:gd name="connsiteX2" fmla="*/ 466484 w 494985"/>
                  <a:gd name="connsiteY2" fmla="*/ 0 h 1038340"/>
                  <a:gd name="connsiteX3" fmla="*/ 494985 w 494985"/>
                  <a:gd name="connsiteY3" fmla="*/ 28501 h 1038340"/>
                  <a:gd name="connsiteX4" fmla="*/ 494985 w 494985"/>
                  <a:gd name="connsiteY4" fmla="*/ 1006985 h 1038340"/>
                  <a:gd name="connsiteX5" fmla="*/ 466484 w 494985"/>
                  <a:gd name="connsiteY5" fmla="*/ 1035486 h 1038340"/>
                  <a:gd name="connsiteX6" fmla="*/ 153637 w 494985"/>
                  <a:gd name="connsiteY6" fmla="*/ 1037339 h 1038340"/>
                  <a:gd name="connsiteX7" fmla="*/ 28501 w 494985"/>
                  <a:gd name="connsiteY7" fmla="*/ 1035486 h 1038340"/>
                  <a:gd name="connsiteX8" fmla="*/ 0 w 494985"/>
                  <a:gd name="connsiteY8" fmla="*/ 1006985 h 1038340"/>
                  <a:gd name="connsiteX9" fmla="*/ 0 w 494985"/>
                  <a:gd name="connsiteY9" fmla="*/ 28501 h 1038340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274287 w 494985"/>
                  <a:gd name="connsiteY6" fmla="*/ 1037339 h 1038241"/>
                  <a:gd name="connsiteX7" fmla="*/ 153637 w 494985"/>
                  <a:gd name="connsiteY7" fmla="*/ 1037339 h 1038241"/>
                  <a:gd name="connsiteX8" fmla="*/ 28501 w 494985"/>
                  <a:gd name="connsiteY8" fmla="*/ 1035486 h 1038241"/>
                  <a:gd name="connsiteX9" fmla="*/ 0 w 494985"/>
                  <a:gd name="connsiteY9" fmla="*/ 1006985 h 1038241"/>
                  <a:gd name="connsiteX10" fmla="*/ 0 w 494985"/>
                  <a:gd name="connsiteY10" fmla="*/ 28501 h 1038241"/>
                  <a:gd name="connsiteX0" fmla="*/ 0 w 494985"/>
                  <a:gd name="connsiteY0" fmla="*/ 28501 h 1038241"/>
                  <a:gd name="connsiteX1" fmla="*/ 28501 w 494985"/>
                  <a:gd name="connsiteY1" fmla="*/ 0 h 1038241"/>
                  <a:gd name="connsiteX2" fmla="*/ 466484 w 494985"/>
                  <a:gd name="connsiteY2" fmla="*/ 0 h 1038241"/>
                  <a:gd name="connsiteX3" fmla="*/ 494985 w 494985"/>
                  <a:gd name="connsiteY3" fmla="*/ 28501 h 1038241"/>
                  <a:gd name="connsiteX4" fmla="*/ 494985 w 494985"/>
                  <a:gd name="connsiteY4" fmla="*/ 1006985 h 1038241"/>
                  <a:gd name="connsiteX5" fmla="*/ 466484 w 494985"/>
                  <a:gd name="connsiteY5" fmla="*/ 1035486 h 1038241"/>
                  <a:gd name="connsiteX6" fmla="*/ 369537 w 494985"/>
                  <a:gd name="connsiteY6" fmla="*/ 1030990 h 1038241"/>
                  <a:gd name="connsiteX7" fmla="*/ 274287 w 494985"/>
                  <a:gd name="connsiteY7" fmla="*/ 1037339 h 1038241"/>
                  <a:gd name="connsiteX8" fmla="*/ 153637 w 494985"/>
                  <a:gd name="connsiteY8" fmla="*/ 1037339 h 1038241"/>
                  <a:gd name="connsiteX9" fmla="*/ 28501 w 494985"/>
                  <a:gd name="connsiteY9" fmla="*/ 1035486 h 1038241"/>
                  <a:gd name="connsiteX10" fmla="*/ 0 w 494985"/>
                  <a:gd name="connsiteY10" fmla="*/ 1006985 h 1038241"/>
                  <a:gd name="connsiteX11" fmla="*/ 0 w 494985"/>
                  <a:gd name="connsiteY11" fmla="*/ 28501 h 1038241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0373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7189"/>
                  <a:gd name="connsiteX1" fmla="*/ 28501 w 494985"/>
                  <a:gd name="connsiteY1" fmla="*/ 0 h 1107189"/>
                  <a:gd name="connsiteX2" fmla="*/ 466484 w 494985"/>
                  <a:gd name="connsiteY2" fmla="*/ 0 h 1107189"/>
                  <a:gd name="connsiteX3" fmla="*/ 494985 w 494985"/>
                  <a:gd name="connsiteY3" fmla="*/ 28501 h 1107189"/>
                  <a:gd name="connsiteX4" fmla="*/ 494985 w 494985"/>
                  <a:gd name="connsiteY4" fmla="*/ 1006985 h 1107189"/>
                  <a:gd name="connsiteX5" fmla="*/ 466484 w 494985"/>
                  <a:gd name="connsiteY5" fmla="*/ 1035486 h 1107189"/>
                  <a:gd name="connsiteX6" fmla="*/ 369537 w 494985"/>
                  <a:gd name="connsiteY6" fmla="*/ 1030990 h 1107189"/>
                  <a:gd name="connsiteX7" fmla="*/ 274287 w 494985"/>
                  <a:gd name="connsiteY7" fmla="*/ 1100839 h 1107189"/>
                  <a:gd name="connsiteX8" fmla="*/ 159987 w 494985"/>
                  <a:gd name="connsiteY8" fmla="*/ 1107189 h 1107189"/>
                  <a:gd name="connsiteX9" fmla="*/ 28501 w 494985"/>
                  <a:gd name="connsiteY9" fmla="*/ 1035486 h 1107189"/>
                  <a:gd name="connsiteX10" fmla="*/ 0 w 494985"/>
                  <a:gd name="connsiteY10" fmla="*/ 1006985 h 1107189"/>
                  <a:gd name="connsiteX11" fmla="*/ 0 w 494985"/>
                  <a:gd name="connsiteY11" fmla="*/ 28501 h 110718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7605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50461 w 494985"/>
                  <a:gd name="connsiteY8" fmla="*/ 1040514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2742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9537 w 494985"/>
                  <a:gd name="connsiteY6" fmla="*/ 1030990 h 1100839"/>
                  <a:gd name="connsiteX7" fmla="*/ 198087 w 494985"/>
                  <a:gd name="connsiteY7" fmla="*/ 1100839 h 1100839"/>
                  <a:gd name="connsiteX8" fmla="*/ 148080 w 494985"/>
                  <a:gd name="connsiteY8" fmla="*/ 1033370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57"/>
                  <a:gd name="connsiteX1" fmla="*/ 28501 w 494985"/>
                  <a:gd name="connsiteY1" fmla="*/ 0 h 1100857"/>
                  <a:gd name="connsiteX2" fmla="*/ 466484 w 494985"/>
                  <a:gd name="connsiteY2" fmla="*/ 0 h 1100857"/>
                  <a:gd name="connsiteX3" fmla="*/ 494985 w 494985"/>
                  <a:gd name="connsiteY3" fmla="*/ 28501 h 1100857"/>
                  <a:gd name="connsiteX4" fmla="*/ 494985 w 494985"/>
                  <a:gd name="connsiteY4" fmla="*/ 1006985 h 1100857"/>
                  <a:gd name="connsiteX5" fmla="*/ 466484 w 494985"/>
                  <a:gd name="connsiteY5" fmla="*/ 1035486 h 1100857"/>
                  <a:gd name="connsiteX6" fmla="*/ 369537 w 494985"/>
                  <a:gd name="connsiteY6" fmla="*/ 1030990 h 1100857"/>
                  <a:gd name="connsiteX7" fmla="*/ 198087 w 494985"/>
                  <a:gd name="connsiteY7" fmla="*/ 1100839 h 1100857"/>
                  <a:gd name="connsiteX8" fmla="*/ 148080 w 494985"/>
                  <a:gd name="connsiteY8" fmla="*/ 1033370 h 1100857"/>
                  <a:gd name="connsiteX9" fmla="*/ 28501 w 494985"/>
                  <a:gd name="connsiteY9" fmla="*/ 1035486 h 1100857"/>
                  <a:gd name="connsiteX10" fmla="*/ 0 w 494985"/>
                  <a:gd name="connsiteY10" fmla="*/ 1006985 h 1100857"/>
                  <a:gd name="connsiteX11" fmla="*/ 0 w 494985"/>
                  <a:gd name="connsiteY11" fmla="*/ 28501 h 1100857"/>
                  <a:gd name="connsiteX0" fmla="*/ 0 w 494985"/>
                  <a:gd name="connsiteY0" fmla="*/ 28501 h 1101187"/>
                  <a:gd name="connsiteX1" fmla="*/ 28501 w 494985"/>
                  <a:gd name="connsiteY1" fmla="*/ 0 h 1101187"/>
                  <a:gd name="connsiteX2" fmla="*/ 466484 w 494985"/>
                  <a:gd name="connsiteY2" fmla="*/ 0 h 1101187"/>
                  <a:gd name="connsiteX3" fmla="*/ 494985 w 494985"/>
                  <a:gd name="connsiteY3" fmla="*/ 28501 h 1101187"/>
                  <a:gd name="connsiteX4" fmla="*/ 494985 w 494985"/>
                  <a:gd name="connsiteY4" fmla="*/ 1006985 h 1101187"/>
                  <a:gd name="connsiteX5" fmla="*/ 466484 w 494985"/>
                  <a:gd name="connsiteY5" fmla="*/ 1035486 h 1101187"/>
                  <a:gd name="connsiteX6" fmla="*/ 369537 w 494985"/>
                  <a:gd name="connsiteY6" fmla="*/ 1030990 h 1101187"/>
                  <a:gd name="connsiteX7" fmla="*/ 198087 w 494985"/>
                  <a:gd name="connsiteY7" fmla="*/ 1100839 h 1101187"/>
                  <a:gd name="connsiteX8" fmla="*/ 148080 w 494985"/>
                  <a:gd name="connsiteY8" fmla="*/ 1033370 h 1101187"/>
                  <a:gd name="connsiteX9" fmla="*/ 28501 w 494985"/>
                  <a:gd name="connsiteY9" fmla="*/ 1035486 h 1101187"/>
                  <a:gd name="connsiteX10" fmla="*/ 0 w 494985"/>
                  <a:gd name="connsiteY10" fmla="*/ 1006985 h 1101187"/>
                  <a:gd name="connsiteX11" fmla="*/ 0 w 494985"/>
                  <a:gd name="connsiteY11" fmla="*/ 28501 h 1101187"/>
                  <a:gd name="connsiteX0" fmla="*/ 0 w 494985"/>
                  <a:gd name="connsiteY0" fmla="*/ 28501 h 1101096"/>
                  <a:gd name="connsiteX1" fmla="*/ 28501 w 494985"/>
                  <a:gd name="connsiteY1" fmla="*/ 0 h 1101096"/>
                  <a:gd name="connsiteX2" fmla="*/ 466484 w 494985"/>
                  <a:gd name="connsiteY2" fmla="*/ 0 h 1101096"/>
                  <a:gd name="connsiteX3" fmla="*/ 494985 w 494985"/>
                  <a:gd name="connsiteY3" fmla="*/ 28501 h 1101096"/>
                  <a:gd name="connsiteX4" fmla="*/ 494985 w 494985"/>
                  <a:gd name="connsiteY4" fmla="*/ 1006985 h 1101096"/>
                  <a:gd name="connsiteX5" fmla="*/ 466484 w 494985"/>
                  <a:gd name="connsiteY5" fmla="*/ 1035486 h 1101096"/>
                  <a:gd name="connsiteX6" fmla="*/ 369537 w 494985"/>
                  <a:gd name="connsiteY6" fmla="*/ 1030990 h 1101096"/>
                  <a:gd name="connsiteX7" fmla="*/ 290956 w 494985"/>
                  <a:gd name="connsiteY7" fmla="*/ 1055596 h 1101096"/>
                  <a:gd name="connsiteX8" fmla="*/ 198087 w 494985"/>
                  <a:gd name="connsiteY8" fmla="*/ 1100839 h 1101096"/>
                  <a:gd name="connsiteX9" fmla="*/ 148080 w 494985"/>
                  <a:gd name="connsiteY9" fmla="*/ 1033370 h 1101096"/>
                  <a:gd name="connsiteX10" fmla="*/ 28501 w 494985"/>
                  <a:gd name="connsiteY10" fmla="*/ 1035486 h 1101096"/>
                  <a:gd name="connsiteX11" fmla="*/ 0 w 494985"/>
                  <a:gd name="connsiteY11" fmla="*/ 1006985 h 1101096"/>
                  <a:gd name="connsiteX12" fmla="*/ 0 w 494985"/>
                  <a:gd name="connsiteY12" fmla="*/ 28501 h 1101096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5462"/>
                  <a:gd name="connsiteX1" fmla="*/ 28501 w 494985"/>
                  <a:gd name="connsiteY1" fmla="*/ 0 h 1105462"/>
                  <a:gd name="connsiteX2" fmla="*/ 466484 w 494985"/>
                  <a:gd name="connsiteY2" fmla="*/ 0 h 1105462"/>
                  <a:gd name="connsiteX3" fmla="*/ 494985 w 494985"/>
                  <a:gd name="connsiteY3" fmla="*/ 28501 h 1105462"/>
                  <a:gd name="connsiteX4" fmla="*/ 494985 w 494985"/>
                  <a:gd name="connsiteY4" fmla="*/ 1006985 h 1105462"/>
                  <a:gd name="connsiteX5" fmla="*/ 466484 w 494985"/>
                  <a:gd name="connsiteY5" fmla="*/ 1035486 h 1105462"/>
                  <a:gd name="connsiteX6" fmla="*/ 369537 w 494985"/>
                  <a:gd name="connsiteY6" fmla="*/ 1030990 h 1105462"/>
                  <a:gd name="connsiteX7" fmla="*/ 305243 w 494985"/>
                  <a:gd name="connsiteY7" fmla="*/ 1098458 h 1105462"/>
                  <a:gd name="connsiteX8" fmla="*/ 198087 w 494985"/>
                  <a:gd name="connsiteY8" fmla="*/ 1100839 h 1105462"/>
                  <a:gd name="connsiteX9" fmla="*/ 148080 w 494985"/>
                  <a:gd name="connsiteY9" fmla="*/ 1033370 h 1105462"/>
                  <a:gd name="connsiteX10" fmla="*/ 28501 w 494985"/>
                  <a:gd name="connsiteY10" fmla="*/ 1035486 h 1105462"/>
                  <a:gd name="connsiteX11" fmla="*/ 0 w 494985"/>
                  <a:gd name="connsiteY11" fmla="*/ 1006985 h 1105462"/>
                  <a:gd name="connsiteX12" fmla="*/ 0 w 494985"/>
                  <a:gd name="connsiteY12" fmla="*/ 28501 h 110546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48080 w 494985"/>
                  <a:gd name="connsiteY9" fmla="*/ 1033370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69537 w 494985"/>
                  <a:gd name="connsiteY6" fmla="*/ 1030990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2002"/>
                  <a:gd name="connsiteX1" fmla="*/ 28501 w 494985"/>
                  <a:gd name="connsiteY1" fmla="*/ 0 h 1102002"/>
                  <a:gd name="connsiteX2" fmla="*/ 466484 w 494985"/>
                  <a:gd name="connsiteY2" fmla="*/ 0 h 1102002"/>
                  <a:gd name="connsiteX3" fmla="*/ 494985 w 494985"/>
                  <a:gd name="connsiteY3" fmla="*/ 28501 h 1102002"/>
                  <a:gd name="connsiteX4" fmla="*/ 494985 w 494985"/>
                  <a:gd name="connsiteY4" fmla="*/ 1006985 h 1102002"/>
                  <a:gd name="connsiteX5" fmla="*/ 466484 w 494985"/>
                  <a:gd name="connsiteY5" fmla="*/ 1035486 h 1102002"/>
                  <a:gd name="connsiteX6" fmla="*/ 371918 w 494985"/>
                  <a:gd name="connsiteY6" fmla="*/ 1041471 h 1102002"/>
                  <a:gd name="connsiteX7" fmla="*/ 305243 w 494985"/>
                  <a:gd name="connsiteY7" fmla="*/ 1098458 h 1102002"/>
                  <a:gd name="connsiteX8" fmla="*/ 198087 w 494985"/>
                  <a:gd name="connsiteY8" fmla="*/ 1100839 h 1102002"/>
                  <a:gd name="connsiteX9" fmla="*/ 150462 w 494985"/>
                  <a:gd name="connsiteY9" fmla="*/ 1038611 h 1102002"/>
                  <a:gd name="connsiteX10" fmla="*/ 28501 w 494985"/>
                  <a:gd name="connsiteY10" fmla="*/ 1035486 h 1102002"/>
                  <a:gd name="connsiteX11" fmla="*/ 0 w 494985"/>
                  <a:gd name="connsiteY11" fmla="*/ 1006985 h 1102002"/>
                  <a:gd name="connsiteX12" fmla="*/ 0 w 494985"/>
                  <a:gd name="connsiteY12" fmla="*/ 28501 h 1102002"/>
                  <a:gd name="connsiteX0" fmla="*/ 0 w 494985"/>
                  <a:gd name="connsiteY0" fmla="*/ 28501 h 1106321"/>
                  <a:gd name="connsiteX1" fmla="*/ 28501 w 494985"/>
                  <a:gd name="connsiteY1" fmla="*/ 0 h 1106321"/>
                  <a:gd name="connsiteX2" fmla="*/ 466484 w 494985"/>
                  <a:gd name="connsiteY2" fmla="*/ 0 h 1106321"/>
                  <a:gd name="connsiteX3" fmla="*/ 494985 w 494985"/>
                  <a:gd name="connsiteY3" fmla="*/ 28501 h 1106321"/>
                  <a:gd name="connsiteX4" fmla="*/ 494985 w 494985"/>
                  <a:gd name="connsiteY4" fmla="*/ 1006985 h 1106321"/>
                  <a:gd name="connsiteX5" fmla="*/ 466484 w 494985"/>
                  <a:gd name="connsiteY5" fmla="*/ 1035486 h 1106321"/>
                  <a:gd name="connsiteX6" fmla="*/ 371918 w 494985"/>
                  <a:gd name="connsiteY6" fmla="*/ 1041471 h 1106321"/>
                  <a:gd name="connsiteX7" fmla="*/ 305243 w 494985"/>
                  <a:gd name="connsiteY7" fmla="*/ 1106317 h 1106321"/>
                  <a:gd name="connsiteX8" fmla="*/ 198087 w 494985"/>
                  <a:gd name="connsiteY8" fmla="*/ 1100839 h 1106321"/>
                  <a:gd name="connsiteX9" fmla="*/ 150462 w 494985"/>
                  <a:gd name="connsiteY9" fmla="*/ 1038611 h 1106321"/>
                  <a:gd name="connsiteX10" fmla="*/ 28501 w 494985"/>
                  <a:gd name="connsiteY10" fmla="*/ 1035486 h 1106321"/>
                  <a:gd name="connsiteX11" fmla="*/ 0 w 494985"/>
                  <a:gd name="connsiteY11" fmla="*/ 1006985 h 1106321"/>
                  <a:gd name="connsiteX12" fmla="*/ 0 w 494985"/>
                  <a:gd name="connsiteY12" fmla="*/ 28501 h 1106321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0462 w 494985"/>
                  <a:gd name="connsiteY9" fmla="*/ 103861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79037 w 494985"/>
                  <a:gd name="connsiteY9" fmla="*/ 10359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83799 w 494985"/>
                  <a:gd name="connsiteY9" fmla="*/ 1046471 h 1102488"/>
                  <a:gd name="connsiteX10" fmla="*/ 153278 w 494985"/>
                  <a:gd name="connsiteY10" fmla="*/ 1037850 h 1102488"/>
                  <a:gd name="connsiteX11" fmla="*/ 28501 w 494985"/>
                  <a:gd name="connsiteY11" fmla="*/ 1035486 h 1102488"/>
                  <a:gd name="connsiteX12" fmla="*/ 0 w 494985"/>
                  <a:gd name="connsiteY12" fmla="*/ 1006985 h 1102488"/>
                  <a:gd name="connsiteX13" fmla="*/ 0 w 494985"/>
                  <a:gd name="connsiteY13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3278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29465 w 494985"/>
                  <a:gd name="connsiteY9" fmla="*/ 1043091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3654"/>
                  <a:gd name="connsiteX1" fmla="*/ 28501 w 494985"/>
                  <a:gd name="connsiteY1" fmla="*/ 0 h 1103654"/>
                  <a:gd name="connsiteX2" fmla="*/ 466484 w 494985"/>
                  <a:gd name="connsiteY2" fmla="*/ 0 h 1103654"/>
                  <a:gd name="connsiteX3" fmla="*/ 494985 w 494985"/>
                  <a:gd name="connsiteY3" fmla="*/ 28501 h 1103654"/>
                  <a:gd name="connsiteX4" fmla="*/ 494985 w 494985"/>
                  <a:gd name="connsiteY4" fmla="*/ 1006985 h 1103654"/>
                  <a:gd name="connsiteX5" fmla="*/ 466484 w 494985"/>
                  <a:gd name="connsiteY5" fmla="*/ 1035486 h 1103654"/>
                  <a:gd name="connsiteX6" fmla="*/ 371918 w 494985"/>
                  <a:gd name="connsiteY6" fmla="*/ 1041471 h 1103654"/>
                  <a:gd name="connsiteX7" fmla="*/ 307624 w 494985"/>
                  <a:gd name="connsiteY7" fmla="*/ 1101077 h 1103654"/>
                  <a:gd name="connsiteX8" fmla="*/ 198087 w 494985"/>
                  <a:gd name="connsiteY8" fmla="*/ 1100839 h 1103654"/>
                  <a:gd name="connsiteX9" fmla="*/ 136609 w 494985"/>
                  <a:gd name="connsiteY9" fmla="*/ 1037850 h 1103654"/>
                  <a:gd name="connsiteX10" fmla="*/ 28501 w 494985"/>
                  <a:gd name="connsiteY10" fmla="*/ 1035486 h 1103654"/>
                  <a:gd name="connsiteX11" fmla="*/ 0 w 494985"/>
                  <a:gd name="connsiteY11" fmla="*/ 1006985 h 1103654"/>
                  <a:gd name="connsiteX12" fmla="*/ 0 w 494985"/>
                  <a:gd name="connsiteY12" fmla="*/ 28501 h 1103654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36609 w 494985"/>
                  <a:gd name="connsiteY9" fmla="*/ 1037850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2488"/>
                  <a:gd name="connsiteX1" fmla="*/ 28501 w 494985"/>
                  <a:gd name="connsiteY1" fmla="*/ 0 h 1102488"/>
                  <a:gd name="connsiteX2" fmla="*/ 466484 w 494985"/>
                  <a:gd name="connsiteY2" fmla="*/ 0 h 1102488"/>
                  <a:gd name="connsiteX3" fmla="*/ 494985 w 494985"/>
                  <a:gd name="connsiteY3" fmla="*/ 28501 h 1102488"/>
                  <a:gd name="connsiteX4" fmla="*/ 494985 w 494985"/>
                  <a:gd name="connsiteY4" fmla="*/ 1006985 h 1102488"/>
                  <a:gd name="connsiteX5" fmla="*/ 466484 w 494985"/>
                  <a:gd name="connsiteY5" fmla="*/ 1035486 h 1102488"/>
                  <a:gd name="connsiteX6" fmla="*/ 371918 w 494985"/>
                  <a:gd name="connsiteY6" fmla="*/ 1041471 h 1102488"/>
                  <a:gd name="connsiteX7" fmla="*/ 307624 w 494985"/>
                  <a:gd name="connsiteY7" fmla="*/ 1101077 h 1102488"/>
                  <a:gd name="connsiteX8" fmla="*/ 198087 w 494985"/>
                  <a:gd name="connsiteY8" fmla="*/ 1100839 h 1102488"/>
                  <a:gd name="connsiteX9" fmla="*/ 158041 w 494985"/>
                  <a:gd name="connsiteY9" fmla="*/ 1035229 h 1102488"/>
                  <a:gd name="connsiteX10" fmla="*/ 28501 w 494985"/>
                  <a:gd name="connsiteY10" fmla="*/ 1035486 h 1102488"/>
                  <a:gd name="connsiteX11" fmla="*/ 0 w 494985"/>
                  <a:gd name="connsiteY11" fmla="*/ 1006985 h 1102488"/>
                  <a:gd name="connsiteX12" fmla="*/ 0 w 494985"/>
                  <a:gd name="connsiteY12" fmla="*/ 28501 h 1102488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1324"/>
                  <a:gd name="connsiteX1" fmla="*/ 28501 w 494985"/>
                  <a:gd name="connsiteY1" fmla="*/ 0 h 1101324"/>
                  <a:gd name="connsiteX2" fmla="*/ 466484 w 494985"/>
                  <a:gd name="connsiteY2" fmla="*/ 0 h 1101324"/>
                  <a:gd name="connsiteX3" fmla="*/ 494985 w 494985"/>
                  <a:gd name="connsiteY3" fmla="*/ 28501 h 1101324"/>
                  <a:gd name="connsiteX4" fmla="*/ 494985 w 494985"/>
                  <a:gd name="connsiteY4" fmla="*/ 1006985 h 1101324"/>
                  <a:gd name="connsiteX5" fmla="*/ 466484 w 494985"/>
                  <a:gd name="connsiteY5" fmla="*/ 1035486 h 1101324"/>
                  <a:gd name="connsiteX6" fmla="*/ 371918 w 494985"/>
                  <a:gd name="connsiteY6" fmla="*/ 1041471 h 1101324"/>
                  <a:gd name="connsiteX7" fmla="*/ 307624 w 494985"/>
                  <a:gd name="connsiteY7" fmla="*/ 1101077 h 1101324"/>
                  <a:gd name="connsiteX8" fmla="*/ 198087 w 494985"/>
                  <a:gd name="connsiteY8" fmla="*/ 1100839 h 1101324"/>
                  <a:gd name="connsiteX9" fmla="*/ 158041 w 494985"/>
                  <a:gd name="connsiteY9" fmla="*/ 1035229 h 1101324"/>
                  <a:gd name="connsiteX10" fmla="*/ 28501 w 494985"/>
                  <a:gd name="connsiteY10" fmla="*/ 1035486 h 1101324"/>
                  <a:gd name="connsiteX11" fmla="*/ 0 w 494985"/>
                  <a:gd name="connsiteY11" fmla="*/ 1006985 h 1101324"/>
                  <a:gd name="connsiteX12" fmla="*/ 0 w 494985"/>
                  <a:gd name="connsiteY12" fmla="*/ 28501 h 1101324"/>
                  <a:gd name="connsiteX0" fmla="*/ 0 w 494985"/>
                  <a:gd name="connsiteY0" fmla="*/ 28501 h 1106240"/>
                  <a:gd name="connsiteX1" fmla="*/ 28501 w 494985"/>
                  <a:gd name="connsiteY1" fmla="*/ 0 h 1106240"/>
                  <a:gd name="connsiteX2" fmla="*/ 466484 w 494985"/>
                  <a:gd name="connsiteY2" fmla="*/ 0 h 1106240"/>
                  <a:gd name="connsiteX3" fmla="*/ 494985 w 494985"/>
                  <a:gd name="connsiteY3" fmla="*/ 28501 h 1106240"/>
                  <a:gd name="connsiteX4" fmla="*/ 494985 w 494985"/>
                  <a:gd name="connsiteY4" fmla="*/ 1006985 h 1106240"/>
                  <a:gd name="connsiteX5" fmla="*/ 466484 w 494985"/>
                  <a:gd name="connsiteY5" fmla="*/ 1035486 h 1106240"/>
                  <a:gd name="connsiteX6" fmla="*/ 369537 w 494985"/>
                  <a:gd name="connsiteY6" fmla="*/ 1033611 h 1106240"/>
                  <a:gd name="connsiteX7" fmla="*/ 307624 w 494985"/>
                  <a:gd name="connsiteY7" fmla="*/ 1101077 h 1106240"/>
                  <a:gd name="connsiteX8" fmla="*/ 198087 w 494985"/>
                  <a:gd name="connsiteY8" fmla="*/ 1100839 h 1106240"/>
                  <a:gd name="connsiteX9" fmla="*/ 158041 w 494985"/>
                  <a:gd name="connsiteY9" fmla="*/ 1035229 h 1106240"/>
                  <a:gd name="connsiteX10" fmla="*/ 28501 w 494985"/>
                  <a:gd name="connsiteY10" fmla="*/ 1035486 h 1106240"/>
                  <a:gd name="connsiteX11" fmla="*/ 0 w 494985"/>
                  <a:gd name="connsiteY11" fmla="*/ 1006985 h 1106240"/>
                  <a:gd name="connsiteX12" fmla="*/ 0 w 494985"/>
                  <a:gd name="connsiteY12" fmla="*/ 28501 h 1106240"/>
                  <a:gd name="connsiteX0" fmla="*/ 0 w 494985"/>
                  <a:gd name="connsiteY0" fmla="*/ 28501 h 1105659"/>
                  <a:gd name="connsiteX1" fmla="*/ 28501 w 494985"/>
                  <a:gd name="connsiteY1" fmla="*/ 0 h 1105659"/>
                  <a:gd name="connsiteX2" fmla="*/ 466484 w 494985"/>
                  <a:gd name="connsiteY2" fmla="*/ 0 h 1105659"/>
                  <a:gd name="connsiteX3" fmla="*/ 494985 w 494985"/>
                  <a:gd name="connsiteY3" fmla="*/ 28501 h 1105659"/>
                  <a:gd name="connsiteX4" fmla="*/ 494985 w 494985"/>
                  <a:gd name="connsiteY4" fmla="*/ 1006985 h 1105659"/>
                  <a:gd name="connsiteX5" fmla="*/ 466484 w 494985"/>
                  <a:gd name="connsiteY5" fmla="*/ 1035486 h 1105659"/>
                  <a:gd name="connsiteX6" fmla="*/ 371918 w 494985"/>
                  <a:gd name="connsiteY6" fmla="*/ 1041470 h 1105659"/>
                  <a:gd name="connsiteX7" fmla="*/ 307624 w 494985"/>
                  <a:gd name="connsiteY7" fmla="*/ 1101077 h 1105659"/>
                  <a:gd name="connsiteX8" fmla="*/ 198087 w 494985"/>
                  <a:gd name="connsiteY8" fmla="*/ 1100839 h 1105659"/>
                  <a:gd name="connsiteX9" fmla="*/ 158041 w 494985"/>
                  <a:gd name="connsiteY9" fmla="*/ 1035229 h 1105659"/>
                  <a:gd name="connsiteX10" fmla="*/ 28501 w 494985"/>
                  <a:gd name="connsiteY10" fmla="*/ 1035486 h 1105659"/>
                  <a:gd name="connsiteX11" fmla="*/ 0 w 494985"/>
                  <a:gd name="connsiteY11" fmla="*/ 1006985 h 1105659"/>
                  <a:gd name="connsiteX12" fmla="*/ 0 w 494985"/>
                  <a:gd name="connsiteY12" fmla="*/ 28501 h 1105659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6046"/>
                  <a:gd name="connsiteX1" fmla="*/ 28501 w 494985"/>
                  <a:gd name="connsiteY1" fmla="*/ 0 h 1106046"/>
                  <a:gd name="connsiteX2" fmla="*/ 466484 w 494985"/>
                  <a:gd name="connsiteY2" fmla="*/ 0 h 1106046"/>
                  <a:gd name="connsiteX3" fmla="*/ 494985 w 494985"/>
                  <a:gd name="connsiteY3" fmla="*/ 28501 h 1106046"/>
                  <a:gd name="connsiteX4" fmla="*/ 494985 w 494985"/>
                  <a:gd name="connsiteY4" fmla="*/ 1006985 h 1106046"/>
                  <a:gd name="connsiteX5" fmla="*/ 466484 w 494985"/>
                  <a:gd name="connsiteY5" fmla="*/ 1035486 h 1106046"/>
                  <a:gd name="connsiteX6" fmla="*/ 364775 w 494985"/>
                  <a:gd name="connsiteY6" fmla="*/ 1036230 h 1106046"/>
                  <a:gd name="connsiteX7" fmla="*/ 307624 w 494985"/>
                  <a:gd name="connsiteY7" fmla="*/ 1101077 h 1106046"/>
                  <a:gd name="connsiteX8" fmla="*/ 198087 w 494985"/>
                  <a:gd name="connsiteY8" fmla="*/ 1100839 h 1106046"/>
                  <a:gd name="connsiteX9" fmla="*/ 158041 w 494985"/>
                  <a:gd name="connsiteY9" fmla="*/ 1035229 h 1106046"/>
                  <a:gd name="connsiteX10" fmla="*/ 28501 w 494985"/>
                  <a:gd name="connsiteY10" fmla="*/ 1035486 h 1106046"/>
                  <a:gd name="connsiteX11" fmla="*/ 0 w 494985"/>
                  <a:gd name="connsiteY11" fmla="*/ 1006985 h 1106046"/>
                  <a:gd name="connsiteX12" fmla="*/ 0 w 494985"/>
                  <a:gd name="connsiteY12" fmla="*/ 28501 h 1106046"/>
                  <a:gd name="connsiteX0" fmla="*/ 0 w 494985"/>
                  <a:gd name="connsiteY0" fmla="*/ 28501 h 1104264"/>
                  <a:gd name="connsiteX1" fmla="*/ 28501 w 494985"/>
                  <a:gd name="connsiteY1" fmla="*/ 0 h 1104264"/>
                  <a:gd name="connsiteX2" fmla="*/ 466484 w 494985"/>
                  <a:gd name="connsiteY2" fmla="*/ 0 h 1104264"/>
                  <a:gd name="connsiteX3" fmla="*/ 494985 w 494985"/>
                  <a:gd name="connsiteY3" fmla="*/ 28501 h 1104264"/>
                  <a:gd name="connsiteX4" fmla="*/ 494985 w 494985"/>
                  <a:gd name="connsiteY4" fmla="*/ 1006985 h 1104264"/>
                  <a:gd name="connsiteX5" fmla="*/ 466484 w 494985"/>
                  <a:gd name="connsiteY5" fmla="*/ 1035486 h 1104264"/>
                  <a:gd name="connsiteX6" fmla="*/ 364775 w 494985"/>
                  <a:gd name="connsiteY6" fmla="*/ 1036230 h 1104264"/>
                  <a:gd name="connsiteX7" fmla="*/ 312387 w 494985"/>
                  <a:gd name="connsiteY7" fmla="*/ 1098457 h 1104264"/>
                  <a:gd name="connsiteX8" fmla="*/ 198087 w 494985"/>
                  <a:gd name="connsiteY8" fmla="*/ 1100839 h 1104264"/>
                  <a:gd name="connsiteX9" fmla="*/ 158041 w 494985"/>
                  <a:gd name="connsiteY9" fmla="*/ 1035229 h 1104264"/>
                  <a:gd name="connsiteX10" fmla="*/ 28501 w 494985"/>
                  <a:gd name="connsiteY10" fmla="*/ 1035486 h 1104264"/>
                  <a:gd name="connsiteX11" fmla="*/ 0 w 494985"/>
                  <a:gd name="connsiteY11" fmla="*/ 1006985 h 1104264"/>
                  <a:gd name="connsiteX12" fmla="*/ 0 w 494985"/>
                  <a:gd name="connsiteY12" fmla="*/ 28501 h 1104264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312387 w 494985"/>
                  <a:gd name="connsiteY7" fmla="*/ 1098457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198087 w 494985"/>
                  <a:gd name="connsiteY7" fmla="*/ 1100839 h 1100839"/>
                  <a:gd name="connsiteX8" fmla="*/ 158041 w 494985"/>
                  <a:gd name="connsiteY8" fmla="*/ 1035229 h 1100839"/>
                  <a:gd name="connsiteX9" fmla="*/ 28501 w 494985"/>
                  <a:gd name="connsiteY9" fmla="*/ 1035486 h 1100839"/>
                  <a:gd name="connsiteX10" fmla="*/ 0 w 494985"/>
                  <a:gd name="connsiteY10" fmla="*/ 1006985 h 1100839"/>
                  <a:gd name="connsiteX11" fmla="*/ 0 w 494985"/>
                  <a:gd name="connsiteY11" fmla="*/ 28501 h 1100839"/>
                  <a:gd name="connsiteX0" fmla="*/ 0 w 494985"/>
                  <a:gd name="connsiteY0" fmla="*/ 28501 h 1100839"/>
                  <a:gd name="connsiteX1" fmla="*/ 28501 w 494985"/>
                  <a:gd name="connsiteY1" fmla="*/ 0 h 1100839"/>
                  <a:gd name="connsiteX2" fmla="*/ 466484 w 494985"/>
                  <a:gd name="connsiteY2" fmla="*/ 0 h 1100839"/>
                  <a:gd name="connsiteX3" fmla="*/ 494985 w 494985"/>
                  <a:gd name="connsiteY3" fmla="*/ 28501 h 1100839"/>
                  <a:gd name="connsiteX4" fmla="*/ 494985 w 494985"/>
                  <a:gd name="connsiteY4" fmla="*/ 1006985 h 1100839"/>
                  <a:gd name="connsiteX5" fmla="*/ 466484 w 494985"/>
                  <a:gd name="connsiteY5" fmla="*/ 1035486 h 1100839"/>
                  <a:gd name="connsiteX6" fmla="*/ 364775 w 494985"/>
                  <a:gd name="connsiteY6" fmla="*/ 1036230 h 1100839"/>
                  <a:gd name="connsiteX7" fmla="*/ 289009 w 494985"/>
                  <a:gd name="connsiteY7" fmla="*/ 1064051 h 1100839"/>
                  <a:gd name="connsiteX8" fmla="*/ 198087 w 494985"/>
                  <a:gd name="connsiteY8" fmla="*/ 1100839 h 1100839"/>
                  <a:gd name="connsiteX9" fmla="*/ 158041 w 494985"/>
                  <a:gd name="connsiteY9" fmla="*/ 1035229 h 1100839"/>
                  <a:gd name="connsiteX10" fmla="*/ 28501 w 494985"/>
                  <a:gd name="connsiteY10" fmla="*/ 1035486 h 1100839"/>
                  <a:gd name="connsiteX11" fmla="*/ 0 w 494985"/>
                  <a:gd name="connsiteY11" fmla="*/ 1006985 h 1100839"/>
                  <a:gd name="connsiteX12" fmla="*/ 0 w 494985"/>
                  <a:gd name="connsiteY12" fmla="*/ 28501 h 1100839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64775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52869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3352"/>
                  <a:gd name="connsiteX1" fmla="*/ 28501 w 494985"/>
                  <a:gd name="connsiteY1" fmla="*/ 0 h 1103352"/>
                  <a:gd name="connsiteX2" fmla="*/ 466484 w 494985"/>
                  <a:gd name="connsiteY2" fmla="*/ 0 h 1103352"/>
                  <a:gd name="connsiteX3" fmla="*/ 494985 w 494985"/>
                  <a:gd name="connsiteY3" fmla="*/ 28501 h 1103352"/>
                  <a:gd name="connsiteX4" fmla="*/ 494985 w 494985"/>
                  <a:gd name="connsiteY4" fmla="*/ 1006985 h 1103352"/>
                  <a:gd name="connsiteX5" fmla="*/ 466484 w 494985"/>
                  <a:gd name="connsiteY5" fmla="*/ 1035486 h 1103352"/>
                  <a:gd name="connsiteX6" fmla="*/ 340962 w 494985"/>
                  <a:gd name="connsiteY6" fmla="*/ 1036230 h 1103352"/>
                  <a:gd name="connsiteX7" fmla="*/ 291390 w 494985"/>
                  <a:gd name="connsiteY7" fmla="*/ 1103352 h 1103352"/>
                  <a:gd name="connsiteX8" fmla="*/ 198087 w 494985"/>
                  <a:gd name="connsiteY8" fmla="*/ 1100839 h 1103352"/>
                  <a:gd name="connsiteX9" fmla="*/ 158041 w 494985"/>
                  <a:gd name="connsiteY9" fmla="*/ 1035229 h 1103352"/>
                  <a:gd name="connsiteX10" fmla="*/ 28501 w 494985"/>
                  <a:gd name="connsiteY10" fmla="*/ 1035486 h 1103352"/>
                  <a:gd name="connsiteX11" fmla="*/ 0 w 494985"/>
                  <a:gd name="connsiteY11" fmla="*/ 1006985 h 1103352"/>
                  <a:gd name="connsiteX12" fmla="*/ 0 w 494985"/>
                  <a:gd name="connsiteY12" fmla="*/ 28501 h 110335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1390 w 494985"/>
                  <a:gd name="connsiteY7" fmla="*/ 1103352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13832"/>
                  <a:gd name="connsiteX1" fmla="*/ 28501 w 494985"/>
                  <a:gd name="connsiteY1" fmla="*/ 0 h 1113832"/>
                  <a:gd name="connsiteX2" fmla="*/ 466484 w 494985"/>
                  <a:gd name="connsiteY2" fmla="*/ 0 h 1113832"/>
                  <a:gd name="connsiteX3" fmla="*/ 494985 w 494985"/>
                  <a:gd name="connsiteY3" fmla="*/ 28501 h 1113832"/>
                  <a:gd name="connsiteX4" fmla="*/ 494985 w 494985"/>
                  <a:gd name="connsiteY4" fmla="*/ 1006985 h 1113832"/>
                  <a:gd name="connsiteX5" fmla="*/ 466484 w 494985"/>
                  <a:gd name="connsiteY5" fmla="*/ 1035486 h 1113832"/>
                  <a:gd name="connsiteX6" fmla="*/ 340962 w 494985"/>
                  <a:gd name="connsiteY6" fmla="*/ 1036230 h 1113832"/>
                  <a:gd name="connsiteX7" fmla="*/ 293772 w 494985"/>
                  <a:gd name="connsiteY7" fmla="*/ 1113832 h 1113832"/>
                  <a:gd name="connsiteX8" fmla="*/ 200469 w 494985"/>
                  <a:gd name="connsiteY8" fmla="*/ 1108699 h 1113832"/>
                  <a:gd name="connsiteX9" fmla="*/ 158041 w 494985"/>
                  <a:gd name="connsiteY9" fmla="*/ 1035229 h 1113832"/>
                  <a:gd name="connsiteX10" fmla="*/ 28501 w 494985"/>
                  <a:gd name="connsiteY10" fmla="*/ 1035486 h 1113832"/>
                  <a:gd name="connsiteX11" fmla="*/ 0 w 494985"/>
                  <a:gd name="connsiteY11" fmla="*/ 1006985 h 1113832"/>
                  <a:gd name="connsiteX12" fmla="*/ 0 w 494985"/>
                  <a:gd name="connsiteY12" fmla="*/ 28501 h 1113832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200469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298535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  <a:gd name="connsiteX0" fmla="*/ 0 w 494985"/>
                  <a:gd name="connsiteY0" fmla="*/ 28501 h 1108699"/>
                  <a:gd name="connsiteX1" fmla="*/ 28501 w 494985"/>
                  <a:gd name="connsiteY1" fmla="*/ 0 h 1108699"/>
                  <a:gd name="connsiteX2" fmla="*/ 466484 w 494985"/>
                  <a:gd name="connsiteY2" fmla="*/ 0 h 1108699"/>
                  <a:gd name="connsiteX3" fmla="*/ 494985 w 494985"/>
                  <a:gd name="connsiteY3" fmla="*/ 28501 h 1108699"/>
                  <a:gd name="connsiteX4" fmla="*/ 494985 w 494985"/>
                  <a:gd name="connsiteY4" fmla="*/ 1006985 h 1108699"/>
                  <a:gd name="connsiteX5" fmla="*/ 466484 w 494985"/>
                  <a:gd name="connsiteY5" fmla="*/ 1035486 h 1108699"/>
                  <a:gd name="connsiteX6" fmla="*/ 340962 w 494985"/>
                  <a:gd name="connsiteY6" fmla="*/ 1036230 h 1108699"/>
                  <a:gd name="connsiteX7" fmla="*/ 305679 w 494985"/>
                  <a:gd name="connsiteY7" fmla="*/ 1108591 h 1108699"/>
                  <a:gd name="connsiteX8" fmla="*/ 186182 w 494985"/>
                  <a:gd name="connsiteY8" fmla="*/ 1108699 h 1108699"/>
                  <a:gd name="connsiteX9" fmla="*/ 158041 w 494985"/>
                  <a:gd name="connsiteY9" fmla="*/ 1035229 h 1108699"/>
                  <a:gd name="connsiteX10" fmla="*/ 28501 w 494985"/>
                  <a:gd name="connsiteY10" fmla="*/ 1035486 h 1108699"/>
                  <a:gd name="connsiteX11" fmla="*/ 0 w 494985"/>
                  <a:gd name="connsiteY11" fmla="*/ 1006985 h 1108699"/>
                  <a:gd name="connsiteX12" fmla="*/ 0 w 494985"/>
                  <a:gd name="connsiteY12" fmla="*/ 28501 h 110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4985" h="1108699">
                    <a:moveTo>
                      <a:pt x="0" y="28501"/>
                    </a:moveTo>
                    <a:cubicBezTo>
                      <a:pt x="0" y="12760"/>
                      <a:pt x="12760" y="0"/>
                      <a:pt x="28501" y="0"/>
                    </a:cubicBezTo>
                    <a:lnTo>
                      <a:pt x="466484" y="0"/>
                    </a:lnTo>
                    <a:cubicBezTo>
                      <a:pt x="482225" y="0"/>
                      <a:pt x="494985" y="12760"/>
                      <a:pt x="494985" y="28501"/>
                    </a:cubicBezTo>
                    <a:lnTo>
                      <a:pt x="494985" y="1006985"/>
                    </a:lnTo>
                    <a:cubicBezTo>
                      <a:pt x="494985" y="1022726"/>
                      <a:pt x="482225" y="1035486"/>
                      <a:pt x="466484" y="1035486"/>
                    </a:cubicBezTo>
                    <a:lnTo>
                      <a:pt x="340962" y="1036230"/>
                    </a:lnTo>
                    <a:lnTo>
                      <a:pt x="305679" y="1108591"/>
                    </a:lnTo>
                    <a:lnTo>
                      <a:pt x="186182" y="1108699"/>
                    </a:lnTo>
                    <a:lnTo>
                      <a:pt x="158041" y="1035229"/>
                    </a:lnTo>
                    <a:lnTo>
                      <a:pt x="28501" y="1035486"/>
                    </a:lnTo>
                    <a:cubicBezTo>
                      <a:pt x="12760" y="1035486"/>
                      <a:pt x="0" y="1022726"/>
                      <a:pt x="0" y="1006985"/>
                    </a:cubicBezTo>
                    <a:lnTo>
                      <a:pt x="0" y="28501"/>
                    </a:lnTo>
                    <a:close/>
                  </a:path>
                </a:pathLst>
              </a:custGeom>
              <a:solidFill>
                <a:srgbClr val="00827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8288" rIns="0" rtlCol="0" anchor="t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+mn-ea"/>
                    <a:cs typeface="Segoe UI Semibold" panose="020B0702040204020203" pitchFamily="34" charset="0"/>
                  </a:rPr>
                  <a:t>Batch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Map reduce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  <p:sp>
            <p:nvSpPr>
              <p:cNvPr id="26" name="Rectangle 87"/>
              <p:cNvSpPr/>
              <p:nvPr/>
            </p:nvSpPr>
            <p:spPr>
              <a:xfrm>
                <a:off x="2804593" y="3963789"/>
                <a:ext cx="4346139" cy="369827"/>
              </a:xfrm>
              <a:prstGeom prst="rect">
                <a:avLst/>
              </a:prstGeom>
              <a:solidFill>
                <a:srgbClr val="008272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91440" rIns="0" bIns="9144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Data access</a:t>
                </a:r>
              </a:p>
            </p:txBody>
          </p:sp>
          <p:sp>
            <p:nvSpPr>
              <p:cNvPr id="27" name="Rectangle 88"/>
              <p:cNvSpPr/>
              <p:nvPr/>
            </p:nvSpPr>
            <p:spPr>
              <a:xfrm>
                <a:off x="2893159" y="5666724"/>
                <a:ext cx="4149598" cy="644912"/>
              </a:xfrm>
              <a:prstGeom prst="rect">
                <a:avLst/>
              </a:prstGeom>
              <a:solidFill>
                <a:srgbClr val="000000">
                  <a:alpha val="13000"/>
                </a:srgbClr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210312" rIns="182880" bIns="146304" rtlCol="0" anchor="t" anchorCtr="0"/>
              <a:lstStyle/>
              <a:p>
                <a:pPr marL="0" marR="0" lvl="0" indent="0" defTabSz="457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HDFS  (Hadoop Distributed File System)</a:t>
                </a:r>
              </a:p>
            </p:txBody>
          </p:sp>
          <p:sp>
            <p:nvSpPr>
              <p:cNvPr id="28" name="Rectangle 89"/>
              <p:cNvSpPr/>
              <p:nvPr/>
            </p:nvSpPr>
            <p:spPr>
              <a:xfrm>
                <a:off x="2893160" y="6352603"/>
                <a:ext cx="4149459" cy="228600"/>
              </a:xfrm>
              <a:prstGeom prst="rect">
                <a:avLst/>
              </a:prstGeom>
              <a:solidFill>
                <a:srgbClr val="008272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36576" rIns="0" bIns="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Data management</a:t>
                </a:r>
              </a:p>
            </p:txBody>
          </p:sp>
        </p:grpSp>
        <p:grpSp>
          <p:nvGrpSpPr>
            <p:cNvPr id="8" name="Group 69"/>
            <p:cNvGrpSpPr/>
            <p:nvPr/>
          </p:nvGrpSpPr>
          <p:grpSpPr>
            <a:xfrm>
              <a:off x="7191124" y="3914095"/>
              <a:ext cx="2336858" cy="2671962"/>
              <a:chOff x="7217409" y="3963789"/>
              <a:chExt cx="2336858" cy="2671962"/>
            </a:xfrm>
          </p:grpSpPr>
          <p:sp>
            <p:nvSpPr>
              <p:cNvPr id="13" name="Rectangle 74"/>
              <p:cNvSpPr/>
              <p:nvPr/>
            </p:nvSpPr>
            <p:spPr>
              <a:xfrm>
                <a:off x="7217409" y="4366380"/>
                <a:ext cx="2336858" cy="2269371"/>
              </a:xfrm>
              <a:prstGeom prst="rect">
                <a:avLst/>
              </a:prstGeom>
              <a:solidFill>
                <a:srgbClr val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91440" rIns="182880" bIns="9144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Authentication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Authorization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Accounting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Data protection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Storage: HDFS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Resources: YARN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Access: Hive, … 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Pipeline: Falcon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Cluster: Knox</a:t>
                </a:r>
              </a:p>
            </p:txBody>
          </p:sp>
          <p:sp>
            <p:nvSpPr>
              <p:cNvPr id="14" name="Rectangle 75"/>
              <p:cNvSpPr/>
              <p:nvPr/>
            </p:nvSpPr>
            <p:spPr>
              <a:xfrm>
                <a:off x="7217409" y="3963789"/>
                <a:ext cx="2336858" cy="369827"/>
              </a:xfrm>
              <a:prstGeom prst="rect">
                <a:avLst/>
              </a:prstGeom>
              <a:solidFill>
                <a:srgbClr val="008272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91440" rIns="0" bIns="9144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Security</a:t>
                </a:r>
              </a:p>
            </p:txBody>
          </p:sp>
        </p:grpSp>
        <p:grpSp>
          <p:nvGrpSpPr>
            <p:cNvPr id="9" name="Group 70"/>
            <p:cNvGrpSpPr/>
            <p:nvPr/>
          </p:nvGrpSpPr>
          <p:grpSpPr>
            <a:xfrm>
              <a:off x="9586017" y="3914095"/>
              <a:ext cx="2336858" cy="2671962"/>
              <a:chOff x="9611417" y="3963789"/>
              <a:chExt cx="2336858" cy="2671962"/>
            </a:xfrm>
          </p:grpSpPr>
          <p:sp>
            <p:nvSpPr>
              <p:cNvPr id="10" name="Rectangle 71"/>
              <p:cNvSpPr/>
              <p:nvPr/>
            </p:nvSpPr>
            <p:spPr>
              <a:xfrm>
                <a:off x="9611417" y="3963789"/>
                <a:ext cx="2336858" cy="369827"/>
              </a:xfrm>
              <a:prstGeom prst="rect">
                <a:avLst/>
              </a:prstGeom>
              <a:solidFill>
                <a:srgbClr val="008272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91440" rIns="0" bIns="9144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125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Operations</a:t>
                </a:r>
              </a:p>
            </p:txBody>
          </p:sp>
          <p:sp>
            <p:nvSpPr>
              <p:cNvPr id="11" name="Rectangle 72"/>
              <p:cNvSpPr/>
              <p:nvPr/>
            </p:nvSpPr>
            <p:spPr>
              <a:xfrm>
                <a:off x="9611417" y="4366380"/>
                <a:ext cx="2336858" cy="1300344"/>
              </a:xfrm>
              <a:prstGeom prst="rect">
                <a:avLst/>
              </a:prstGeom>
              <a:solidFill>
                <a:srgbClr val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91440" rIns="182880" bIns="9144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Provision, manage, and monitor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Ambari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Zookeeper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  <p:sp>
            <p:nvSpPr>
              <p:cNvPr id="12" name="Rectangle 73"/>
              <p:cNvSpPr/>
              <p:nvPr/>
            </p:nvSpPr>
            <p:spPr>
              <a:xfrm>
                <a:off x="9611417" y="5716587"/>
                <a:ext cx="2336858" cy="919164"/>
              </a:xfrm>
              <a:prstGeom prst="rect">
                <a:avLst/>
              </a:prstGeom>
              <a:solidFill>
                <a:srgbClr val="FFFFFF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vert="horz" lIns="182880" tIns="91440" rIns="182880" bIns="91440" rtlCol="0" anchor="t" anchorCtr="0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Scheduling</a:t>
                </a: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  <a:p>
                <a:pPr marL="0" marR="0" lvl="0" indent="0" algn="l" defTabSz="4572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+mn-ea"/>
                    <a:cs typeface="Arial"/>
                  </a:rPr>
                  <a:t>Oozie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857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adoop </a:t>
            </a:r>
            <a:r>
              <a:rPr lang="ko-KR" altLang="en-US"/>
              <a:t>배포본은 프로젝트의 패키지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ko-KR" altLang="en-US" dirty="0"/>
              <a:t>전체 패키지의 일관성에 대한 테스트</a:t>
            </a:r>
          </a:p>
        </p:txBody>
      </p:sp>
      <p:grpSp>
        <p:nvGrpSpPr>
          <p:cNvPr id="110" name="Group 149"/>
          <p:cNvGrpSpPr/>
          <p:nvPr/>
        </p:nvGrpSpPr>
        <p:grpSpPr>
          <a:xfrm>
            <a:off x="11394089" y="2259558"/>
            <a:ext cx="513712" cy="3854627"/>
            <a:chOff x="11622563" y="2304370"/>
            <a:chExt cx="524013" cy="3931920"/>
          </a:xfrm>
          <a:solidFill>
            <a:srgbClr val="0072C6"/>
          </a:solidFill>
        </p:grpSpPr>
        <p:sp>
          <p:nvSpPr>
            <p:cNvPr id="111" name="Pentagon 126"/>
            <p:cNvSpPr>
              <a:spLocks/>
            </p:cNvSpPr>
            <p:nvPr/>
          </p:nvSpPr>
          <p:spPr bwMode="auto">
            <a:xfrm rot="16200000">
              <a:off x="9918610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 rot="16200000">
              <a:off x="10033878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Knox</a:t>
              </a:r>
            </a:p>
          </p:txBody>
        </p:sp>
      </p:grpSp>
      <p:grpSp>
        <p:nvGrpSpPr>
          <p:cNvPr id="113" name="Group 165"/>
          <p:cNvGrpSpPr/>
          <p:nvPr/>
        </p:nvGrpSpPr>
        <p:grpSpPr>
          <a:xfrm>
            <a:off x="3022029" y="2259558"/>
            <a:ext cx="513712" cy="3854627"/>
            <a:chOff x="2288819" y="2304370"/>
            <a:chExt cx="524013" cy="3931920"/>
          </a:xfrm>
          <a:solidFill>
            <a:srgbClr val="0072C6"/>
          </a:solidFill>
        </p:grpSpPr>
        <p:sp>
          <p:nvSpPr>
            <p:cNvPr id="114" name="Pentagon 112"/>
            <p:cNvSpPr>
              <a:spLocks/>
            </p:cNvSpPr>
            <p:nvPr/>
          </p:nvSpPr>
          <p:spPr bwMode="auto">
            <a:xfrm rot="16200000">
              <a:off x="584866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 rot="16200000">
              <a:off x="708283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/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Tez</a:t>
              </a: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MS PGothic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6" name="Group 164"/>
          <p:cNvGrpSpPr/>
          <p:nvPr/>
        </p:nvGrpSpPr>
        <p:grpSpPr>
          <a:xfrm>
            <a:off x="3582019" y="2259558"/>
            <a:ext cx="513712" cy="3854627"/>
            <a:chOff x="2911069" y="2304370"/>
            <a:chExt cx="524013" cy="3931920"/>
          </a:xfrm>
          <a:solidFill>
            <a:srgbClr val="0072C6"/>
          </a:solidFill>
        </p:grpSpPr>
        <p:sp>
          <p:nvSpPr>
            <p:cNvPr id="117" name="Pentagon 113"/>
            <p:cNvSpPr>
              <a:spLocks/>
            </p:cNvSpPr>
            <p:nvPr/>
          </p:nvSpPr>
          <p:spPr bwMode="auto">
            <a:xfrm rot="16200000">
              <a:off x="1207116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 rot="16200000">
              <a:off x="1322384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Pig</a:t>
              </a:r>
            </a:p>
          </p:txBody>
        </p:sp>
      </p:grpSp>
      <p:grpSp>
        <p:nvGrpSpPr>
          <p:cNvPr id="119" name="Group 163"/>
          <p:cNvGrpSpPr/>
          <p:nvPr/>
        </p:nvGrpSpPr>
        <p:grpSpPr>
          <a:xfrm>
            <a:off x="4139691" y="2259558"/>
            <a:ext cx="513712" cy="3854627"/>
            <a:chOff x="3533319" y="2304370"/>
            <a:chExt cx="524013" cy="3931920"/>
          </a:xfrm>
          <a:solidFill>
            <a:srgbClr val="0072C6"/>
          </a:solidFill>
        </p:grpSpPr>
        <p:sp>
          <p:nvSpPr>
            <p:cNvPr id="120" name="Pentagon 114"/>
            <p:cNvSpPr>
              <a:spLocks/>
            </p:cNvSpPr>
            <p:nvPr/>
          </p:nvSpPr>
          <p:spPr bwMode="auto">
            <a:xfrm rot="16200000">
              <a:off x="1829366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 rot="16200000">
              <a:off x="1944634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Hive and </a:t>
              </a:r>
              <a:r>
                <a:rPr kumimoji="0" lang="en-US" sz="1568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HCatalog</a:t>
              </a: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MS PGothic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22" name="Group 161"/>
          <p:cNvGrpSpPr/>
          <p:nvPr/>
        </p:nvGrpSpPr>
        <p:grpSpPr>
          <a:xfrm>
            <a:off x="5256164" y="2261893"/>
            <a:ext cx="513712" cy="3854627"/>
            <a:chOff x="4777819" y="2304371"/>
            <a:chExt cx="524013" cy="3931920"/>
          </a:xfrm>
          <a:solidFill>
            <a:srgbClr val="0072C6"/>
          </a:solidFill>
        </p:grpSpPr>
        <p:sp>
          <p:nvSpPr>
            <p:cNvPr id="123" name="Pentagon 115"/>
            <p:cNvSpPr>
              <a:spLocks/>
            </p:cNvSpPr>
            <p:nvPr/>
          </p:nvSpPr>
          <p:spPr bwMode="auto">
            <a:xfrm rot="16200000">
              <a:off x="3073866" y="4008324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 rot="16200000">
              <a:off x="3189134" y="4274799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Phoenix</a:t>
              </a:r>
            </a:p>
          </p:txBody>
        </p:sp>
      </p:grpSp>
      <p:grpSp>
        <p:nvGrpSpPr>
          <p:cNvPr id="125" name="Group 160"/>
          <p:cNvGrpSpPr/>
          <p:nvPr/>
        </p:nvGrpSpPr>
        <p:grpSpPr>
          <a:xfrm>
            <a:off x="5815019" y="2259559"/>
            <a:ext cx="513712" cy="3854627"/>
            <a:chOff x="5400069" y="2304371"/>
            <a:chExt cx="524013" cy="3931920"/>
          </a:xfrm>
          <a:solidFill>
            <a:srgbClr val="0072C6"/>
          </a:solidFill>
        </p:grpSpPr>
        <p:sp>
          <p:nvSpPr>
            <p:cNvPr id="126" name="Pentagon 116"/>
            <p:cNvSpPr>
              <a:spLocks/>
            </p:cNvSpPr>
            <p:nvPr/>
          </p:nvSpPr>
          <p:spPr bwMode="auto">
            <a:xfrm rot="16200000">
              <a:off x="3696116" y="4008324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 rot="16200000">
              <a:off x="3811384" y="4274799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Accumulo</a:t>
              </a: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MS PGothic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28" name="Group 159"/>
          <p:cNvGrpSpPr/>
          <p:nvPr/>
        </p:nvGrpSpPr>
        <p:grpSpPr>
          <a:xfrm>
            <a:off x="6372680" y="2259559"/>
            <a:ext cx="513712" cy="3854627"/>
            <a:chOff x="6022319" y="2304371"/>
            <a:chExt cx="524013" cy="3931920"/>
          </a:xfrm>
          <a:solidFill>
            <a:srgbClr val="0072C6"/>
          </a:solidFill>
        </p:grpSpPr>
        <p:sp>
          <p:nvSpPr>
            <p:cNvPr id="129" name="Pentagon 117"/>
            <p:cNvSpPr>
              <a:spLocks/>
            </p:cNvSpPr>
            <p:nvPr/>
          </p:nvSpPr>
          <p:spPr bwMode="auto">
            <a:xfrm rot="16200000">
              <a:off x="4318366" y="4008324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 rot="16200000">
              <a:off x="4433634" y="4274799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Storm</a:t>
              </a:r>
            </a:p>
          </p:txBody>
        </p:sp>
      </p:grpSp>
      <p:grpSp>
        <p:nvGrpSpPr>
          <p:cNvPr id="131" name="Group 158"/>
          <p:cNvGrpSpPr/>
          <p:nvPr/>
        </p:nvGrpSpPr>
        <p:grpSpPr>
          <a:xfrm>
            <a:off x="6928008" y="2259559"/>
            <a:ext cx="513712" cy="3854627"/>
            <a:chOff x="6644569" y="2304371"/>
            <a:chExt cx="524013" cy="3931920"/>
          </a:xfrm>
          <a:solidFill>
            <a:srgbClr val="0072C6"/>
          </a:solidFill>
        </p:grpSpPr>
        <p:sp>
          <p:nvSpPr>
            <p:cNvPr id="132" name="Pentagon 118"/>
            <p:cNvSpPr>
              <a:spLocks/>
            </p:cNvSpPr>
            <p:nvPr/>
          </p:nvSpPr>
          <p:spPr bwMode="auto">
            <a:xfrm rot="16200000">
              <a:off x="4940616" y="4008324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 rot="16200000">
              <a:off x="5055884" y="4274799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Mahout</a:t>
              </a:r>
            </a:p>
          </p:txBody>
        </p:sp>
      </p:grpSp>
      <p:grpSp>
        <p:nvGrpSpPr>
          <p:cNvPr id="134" name="Group 157"/>
          <p:cNvGrpSpPr/>
          <p:nvPr/>
        </p:nvGrpSpPr>
        <p:grpSpPr>
          <a:xfrm>
            <a:off x="7488004" y="2259558"/>
            <a:ext cx="513712" cy="3854627"/>
            <a:chOff x="7266819" y="2304370"/>
            <a:chExt cx="524013" cy="3931920"/>
          </a:xfrm>
          <a:solidFill>
            <a:srgbClr val="0072C6"/>
          </a:solidFill>
        </p:grpSpPr>
        <p:sp>
          <p:nvSpPr>
            <p:cNvPr id="135" name="Pentagon 119"/>
            <p:cNvSpPr>
              <a:spLocks/>
            </p:cNvSpPr>
            <p:nvPr/>
          </p:nvSpPr>
          <p:spPr bwMode="auto">
            <a:xfrm rot="16200000">
              <a:off x="5562866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 rot="16200000">
              <a:off x="5678134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Solr</a:t>
              </a: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MS PGothic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37" name="Group 155"/>
          <p:cNvGrpSpPr/>
          <p:nvPr/>
        </p:nvGrpSpPr>
        <p:grpSpPr>
          <a:xfrm>
            <a:off x="8048004" y="2259558"/>
            <a:ext cx="513712" cy="3854627"/>
            <a:chOff x="7889069" y="2304370"/>
            <a:chExt cx="524013" cy="3931920"/>
          </a:xfrm>
          <a:solidFill>
            <a:srgbClr val="0072C6"/>
          </a:solidFill>
        </p:grpSpPr>
        <p:sp>
          <p:nvSpPr>
            <p:cNvPr id="138" name="Pentagon 120"/>
            <p:cNvSpPr>
              <a:spLocks/>
            </p:cNvSpPr>
            <p:nvPr/>
          </p:nvSpPr>
          <p:spPr bwMode="auto">
            <a:xfrm rot="16200000">
              <a:off x="6185116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9" name="TextBox 138"/>
            <p:cNvSpPr txBox="1"/>
            <p:nvPr/>
          </p:nvSpPr>
          <p:spPr>
            <a:xfrm rot="16200000">
              <a:off x="6300383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Falcon</a:t>
              </a:r>
            </a:p>
          </p:txBody>
        </p:sp>
      </p:grpSp>
      <p:grpSp>
        <p:nvGrpSpPr>
          <p:cNvPr id="140" name="Group 154"/>
          <p:cNvGrpSpPr/>
          <p:nvPr/>
        </p:nvGrpSpPr>
        <p:grpSpPr>
          <a:xfrm>
            <a:off x="8608001" y="2259558"/>
            <a:ext cx="513712" cy="3854627"/>
            <a:chOff x="8511319" y="2304370"/>
            <a:chExt cx="524013" cy="3931920"/>
          </a:xfrm>
          <a:solidFill>
            <a:srgbClr val="0072C6"/>
          </a:solidFill>
        </p:grpSpPr>
        <p:sp>
          <p:nvSpPr>
            <p:cNvPr id="141" name="Pentagon 121"/>
            <p:cNvSpPr>
              <a:spLocks/>
            </p:cNvSpPr>
            <p:nvPr/>
          </p:nvSpPr>
          <p:spPr bwMode="auto">
            <a:xfrm rot="16200000">
              <a:off x="6807366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 rot="16200000">
              <a:off x="6922634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Sqoop</a:t>
              </a: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MS PGothic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43" name="Group 153"/>
          <p:cNvGrpSpPr/>
          <p:nvPr/>
        </p:nvGrpSpPr>
        <p:grpSpPr>
          <a:xfrm>
            <a:off x="9165667" y="2259558"/>
            <a:ext cx="513712" cy="3854627"/>
            <a:chOff x="9133569" y="2304370"/>
            <a:chExt cx="524013" cy="3931920"/>
          </a:xfrm>
          <a:solidFill>
            <a:srgbClr val="0072C6"/>
          </a:solidFill>
        </p:grpSpPr>
        <p:sp>
          <p:nvSpPr>
            <p:cNvPr id="144" name="Pentagon 122"/>
            <p:cNvSpPr>
              <a:spLocks/>
            </p:cNvSpPr>
            <p:nvPr/>
          </p:nvSpPr>
          <p:spPr bwMode="auto">
            <a:xfrm rot="16200000">
              <a:off x="7429616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5" name="TextBox 144"/>
            <p:cNvSpPr txBox="1"/>
            <p:nvPr/>
          </p:nvSpPr>
          <p:spPr>
            <a:xfrm rot="16200000">
              <a:off x="7526610" y="4274797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Flume</a:t>
              </a:r>
            </a:p>
          </p:txBody>
        </p:sp>
      </p:grpSp>
      <p:grpSp>
        <p:nvGrpSpPr>
          <p:cNvPr id="146" name="Group 152"/>
          <p:cNvGrpSpPr/>
          <p:nvPr/>
        </p:nvGrpSpPr>
        <p:grpSpPr>
          <a:xfrm>
            <a:off x="9723433" y="2259558"/>
            <a:ext cx="513712" cy="3854627"/>
            <a:chOff x="9742570" y="2304370"/>
            <a:chExt cx="524013" cy="3931920"/>
          </a:xfrm>
          <a:solidFill>
            <a:srgbClr val="0072C6"/>
          </a:solidFill>
        </p:grpSpPr>
        <p:sp>
          <p:nvSpPr>
            <p:cNvPr id="147" name="Pentagon 123"/>
            <p:cNvSpPr>
              <a:spLocks/>
            </p:cNvSpPr>
            <p:nvPr/>
          </p:nvSpPr>
          <p:spPr bwMode="auto">
            <a:xfrm rot="16200000">
              <a:off x="8038617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 rot="16200000">
              <a:off x="8153885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Ambari</a:t>
              </a: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MS PGothic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49" name="Group 151"/>
          <p:cNvGrpSpPr/>
          <p:nvPr/>
        </p:nvGrpSpPr>
        <p:grpSpPr>
          <a:xfrm>
            <a:off x="10281107" y="2259558"/>
            <a:ext cx="513712" cy="3854627"/>
            <a:chOff x="10334778" y="2304370"/>
            <a:chExt cx="524013" cy="3931920"/>
          </a:xfrm>
          <a:solidFill>
            <a:srgbClr val="0072C6"/>
          </a:solidFill>
        </p:grpSpPr>
        <p:sp>
          <p:nvSpPr>
            <p:cNvPr id="150" name="Pentagon 124"/>
            <p:cNvSpPr>
              <a:spLocks/>
            </p:cNvSpPr>
            <p:nvPr/>
          </p:nvSpPr>
          <p:spPr bwMode="auto">
            <a:xfrm rot="16200000">
              <a:off x="8630825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1" name="TextBox 150"/>
            <p:cNvSpPr txBox="1"/>
            <p:nvPr/>
          </p:nvSpPr>
          <p:spPr>
            <a:xfrm rot="16200000">
              <a:off x="8746093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Oozie</a:t>
              </a: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MS PGothic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2" name="Group 150"/>
          <p:cNvGrpSpPr/>
          <p:nvPr/>
        </p:nvGrpSpPr>
        <p:grpSpPr>
          <a:xfrm>
            <a:off x="10836435" y="2259558"/>
            <a:ext cx="513712" cy="3854627"/>
            <a:chOff x="10987598" y="2304370"/>
            <a:chExt cx="524013" cy="3931920"/>
          </a:xfrm>
          <a:solidFill>
            <a:srgbClr val="0072C6"/>
          </a:solidFill>
        </p:grpSpPr>
        <p:sp>
          <p:nvSpPr>
            <p:cNvPr id="153" name="Pentagon 125"/>
            <p:cNvSpPr>
              <a:spLocks/>
            </p:cNvSpPr>
            <p:nvPr/>
          </p:nvSpPr>
          <p:spPr bwMode="auto">
            <a:xfrm rot="16200000">
              <a:off x="9283645" y="4008323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4" name="TextBox 153"/>
            <p:cNvSpPr txBox="1"/>
            <p:nvPr/>
          </p:nvSpPr>
          <p:spPr>
            <a:xfrm rot="16200000">
              <a:off x="9398913" y="4274798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Zookeeper</a:t>
              </a:r>
            </a:p>
          </p:txBody>
        </p:sp>
      </p:grpSp>
      <p:grpSp>
        <p:nvGrpSpPr>
          <p:cNvPr id="155" name="Group 162"/>
          <p:cNvGrpSpPr/>
          <p:nvPr/>
        </p:nvGrpSpPr>
        <p:grpSpPr>
          <a:xfrm>
            <a:off x="4697349" y="2259559"/>
            <a:ext cx="513712" cy="3854627"/>
            <a:chOff x="4155569" y="2304371"/>
            <a:chExt cx="524013" cy="3931920"/>
          </a:xfrm>
          <a:solidFill>
            <a:srgbClr val="0072C6"/>
          </a:solidFill>
        </p:grpSpPr>
        <p:sp>
          <p:nvSpPr>
            <p:cNvPr id="156" name="Pentagon 127"/>
            <p:cNvSpPr>
              <a:spLocks/>
            </p:cNvSpPr>
            <p:nvPr/>
          </p:nvSpPr>
          <p:spPr bwMode="auto">
            <a:xfrm rot="16200000">
              <a:off x="2451616" y="4008324"/>
              <a:ext cx="3931920" cy="524013"/>
            </a:xfrm>
            <a:prstGeom prst="homePlat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64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68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 rot="16200000">
              <a:off x="2566884" y="4274799"/>
              <a:ext cx="3701385" cy="221599"/>
            </a:xfrm>
            <a:prstGeom prst="rect">
              <a:avLst/>
            </a:prstGeom>
            <a:grpFill/>
          </p:spPr>
          <p:txBody>
            <a:bodyPr wrap="square" lIns="134464" tIns="0" rIns="179285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defRPr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</a:lstStyle>
            <a:p>
              <a:pPr marL="0" marR="0" lvl="0" indent="0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HBase</a:t>
              </a:r>
              <a:endParaRPr kumimoji="0" lang="en-US" sz="156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MS PGothic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8" name="Group 7"/>
          <p:cNvGrpSpPr/>
          <p:nvPr/>
        </p:nvGrpSpPr>
        <p:grpSpPr>
          <a:xfrm>
            <a:off x="1587681" y="2259557"/>
            <a:ext cx="1388058" cy="3854627"/>
            <a:chOff x="1619517" y="2304369"/>
            <a:chExt cx="1415891" cy="3931920"/>
          </a:xfrm>
        </p:grpSpPr>
        <p:grpSp>
          <p:nvGrpSpPr>
            <p:cNvPr id="159" name="Group 166"/>
            <p:cNvGrpSpPr/>
            <p:nvPr/>
          </p:nvGrpSpPr>
          <p:grpSpPr>
            <a:xfrm>
              <a:off x="1619517" y="2304369"/>
              <a:ext cx="1415891" cy="3931920"/>
              <a:chOff x="1332952" y="2304369"/>
              <a:chExt cx="857630" cy="3931920"/>
            </a:xfrm>
            <a:solidFill>
              <a:srgbClr val="00B050"/>
            </a:solidFill>
          </p:grpSpPr>
          <p:sp>
            <p:nvSpPr>
              <p:cNvPr id="161" name="Pentagon 111"/>
              <p:cNvSpPr>
                <a:spLocks/>
              </p:cNvSpPr>
              <p:nvPr/>
            </p:nvSpPr>
            <p:spPr bwMode="auto">
              <a:xfrm rot="16200000">
                <a:off x="-204193" y="3841514"/>
                <a:ext cx="3931920" cy="857630"/>
              </a:xfrm>
              <a:prstGeom prst="homePlate">
                <a:avLst/>
              </a:prstGeom>
              <a:solidFill>
                <a:srgbClr val="00827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62" name="TextBox 161"/>
              <p:cNvSpPr txBox="1"/>
              <p:nvPr/>
            </p:nvSpPr>
            <p:spPr>
              <a:xfrm rot="16200000">
                <a:off x="-8839" y="4297899"/>
                <a:ext cx="3541212" cy="335566"/>
              </a:xfrm>
              <a:prstGeom prst="rect">
                <a:avLst/>
              </a:prstGeom>
              <a:noFill/>
            </p:spPr>
            <p:txBody>
              <a:bodyPr wrap="square" lIns="134464" tIns="0" rIns="179285" bIns="0" rtlCol="0">
                <a:spAutoFit/>
              </a:bodyPr>
              <a:lstStyle/>
              <a:p>
                <a:pPr marL="0" marR="0" lvl="0" indent="0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61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Hadoop </a:t>
                </a:r>
                <a:br>
                  <a:rPr kumimoji="0" lang="en-US" sz="1961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</a:br>
                <a:r>
                  <a:rPr kumimoji="0" lang="en-US" sz="1961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and YARN</a:t>
                </a:r>
              </a:p>
            </p:txBody>
          </p:sp>
        </p:grpSp>
        <p:pic>
          <p:nvPicPr>
            <p:cNvPr id="160" name="Picture 3"/>
            <p:cNvPicPr>
              <a:picLocks noChangeAspect="1"/>
            </p:cNvPicPr>
            <p:nvPr/>
          </p:nvPicPr>
          <p:blipFill>
            <a:blip r:embed="rId2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8125" y="4403311"/>
              <a:ext cx="1158675" cy="308389"/>
            </a:xfrm>
            <a:prstGeom prst="rect">
              <a:avLst/>
            </a:prstGeom>
          </p:spPr>
        </p:pic>
      </p:grpSp>
      <p:sp>
        <p:nvSpPr>
          <p:cNvPr id="164" name="Rectangle 223"/>
          <p:cNvSpPr/>
          <p:nvPr/>
        </p:nvSpPr>
        <p:spPr bwMode="auto">
          <a:xfrm>
            <a:off x="1593027" y="6153871"/>
            <a:ext cx="1389458" cy="412617"/>
          </a:xfrm>
          <a:prstGeom prst="rect">
            <a:avLst/>
          </a:prstGeom>
          <a:solidFill>
            <a:srgbClr val="000000">
              <a:lumMod val="20000"/>
              <a:lumOff val="8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44821" rIns="179285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management</a:t>
            </a:r>
            <a:endParaRPr kumimoji="0" lang="en-US" sz="98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65" name="Rectangle 224"/>
          <p:cNvSpPr/>
          <p:nvPr/>
        </p:nvSpPr>
        <p:spPr bwMode="auto">
          <a:xfrm>
            <a:off x="3022028" y="6153871"/>
            <a:ext cx="4979689" cy="412617"/>
          </a:xfrm>
          <a:prstGeom prst="rect">
            <a:avLst/>
          </a:prstGeom>
          <a:solidFill>
            <a:srgbClr val="000000">
              <a:lumMod val="20000"/>
              <a:lumOff val="8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44821" rIns="179285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Data access</a:t>
            </a:r>
            <a:endParaRPr kumimoji="0" lang="en-US" sz="98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66" name="Rectangle 225"/>
          <p:cNvSpPr/>
          <p:nvPr/>
        </p:nvSpPr>
        <p:spPr bwMode="auto">
          <a:xfrm>
            <a:off x="8046756" y="6153871"/>
            <a:ext cx="1631377" cy="412617"/>
          </a:xfrm>
          <a:prstGeom prst="rect">
            <a:avLst/>
          </a:prstGeom>
          <a:solidFill>
            <a:srgbClr val="000000">
              <a:lumMod val="20000"/>
              <a:lumOff val="8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44821" rIns="179285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Governance </a:t>
            </a:r>
            <a:br>
              <a:rPr kumimoji="0" lang="en-US" sz="98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kumimoji="0" lang="en-US" sz="98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and integration</a:t>
            </a:r>
            <a:endParaRPr kumimoji="0" lang="en-US" sz="98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67" name="Rectangle 226"/>
          <p:cNvSpPr/>
          <p:nvPr/>
        </p:nvSpPr>
        <p:spPr bwMode="auto">
          <a:xfrm>
            <a:off x="9720422" y="6153871"/>
            <a:ext cx="1631377" cy="412617"/>
          </a:xfrm>
          <a:prstGeom prst="rect">
            <a:avLst/>
          </a:prstGeom>
          <a:solidFill>
            <a:srgbClr val="000000">
              <a:lumMod val="20000"/>
              <a:lumOff val="8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44821" rIns="179285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Operations</a:t>
            </a:r>
            <a:endParaRPr kumimoji="0" lang="en-US" sz="98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68" name="Rectangle 227"/>
          <p:cNvSpPr/>
          <p:nvPr/>
        </p:nvSpPr>
        <p:spPr bwMode="auto">
          <a:xfrm>
            <a:off x="11394089" y="6153871"/>
            <a:ext cx="513713" cy="412617"/>
          </a:xfrm>
          <a:prstGeom prst="rect">
            <a:avLst/>
          </a:prstGeom>
          <a:solidFill>
            <a:srgbClr val="000000">
              <a:lumMod val="20000"/>
              <a:lumOff val="8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4821" rIns="0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ecurity</a:t>
            </a:r>
            <a:endParaRPr kumimoji="0" lang="en-US" sz="98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69" name="Group 9"/>
          <p:cNvGrpSpPr/>
          <p:nvPr/>
        </p:nvGrpSpPr>
        <p:grpSpPr>
          <a:xfrm>
            <a:off x="286208" y="3408927"/>
            <a:ext cx="11655840" cy="382951"/>
            <a:chOff x="291946" y="3476786"/>
            <a:chExt cx="11889564" cy="390630"/>
          </a:xfrm>
        </p:grpSpPr>
        <p:sp>
          <p:nvSpPr>
            <p:cNvPr id="170" name="Rectangle 170"/>
            <p:cNvSpPr/>
            <p:nvPr/>
          </p:nvSpPr>
          <p:spPr bwMode="auto">
            <a:xfrm>
              <a:off x="291946" y="3476786"/>
              <a:ext cx="11889564" cy="365760"/>
            </a:xfrm>
            <a:prstGeom prst="rect">
              <a:avLst/>
            </a:prstGeom>
            <a:solidFill>
              <a:srgbClr val="FFFFFF">
                <a:lumMod val="95000"/>
                <a:alpha val="7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0" rIns="179285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HDP 2.0 </a:t>
              </a:r>
            </a:p>
            <a:p>
              <a:pPr marL="0" marR="0" lvl="0" indent="0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October 2013</a:t>
              </a: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1624971" y="3535017"/>
              <a:ext cx="1415892" cy="332399"/>
            </a:xfrm>
            <a:prstGeom prst="rect">
              <a:avLst/>
            </a:prstGeom>
            <a:noFill/>
          </p:spPr>
          <p:txBody>
            <a:bodyPr wrap="square" lIns="179285" tIns="0" rIns="179285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5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>
                          <a:lumMod val="95000"/>
                          <a:lumOff val="5000"/>
                        </a:srgbClr>
                      </a:gs>
                      <a:gs pos="30000">
                        <a:srgbClr val="000000">
                          <a:lumMod val="95000"/>
                          <a:lumOff val="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2.2.0</a:t>
              </a: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3653845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0.12.0</a:t>
              </a: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4226605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0.12.0</a:t>
              </a: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4797353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0.96.1</a:t>
              </a:r>
            </a:p>
          </p:txBody>
        </p:sp>
        <p:sp>
          <p:nvSpPr>
            <p:cNvPr id="175" name="TextBox 174"/>
            <p:cNvSpPr txBox="1"/>
            <p:nvPr/>
          </p:nvSpPr>
          <p:spPr>
            <a:xfrm>
              <a:off x="7062579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0.8.0</a:t>
              </a:r>
            </a:p>
          </p:txBody>
        </p:sp>
        <p:sp>
          <p:nvSpPr>
            <p:cNvPr id="176" name="TextBox 175"/>
            <p:cNvSpPr txBox="1"/>
            <p:nvPr/>
          </p:nvSpPr>
          <p:spPr>
            <a:xfrm>
              <a:off x="8777846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1.4.4</a:t>
              </a:r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9349072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1.3.0</a:t>
              </a:r>
            </a:p>
          </p:txBody>
        </p:sp>
        <p:sp>
          <p:nvSpPr>
            <p:cNvPr id="178" name="TextBox 177"/>
            <p:cNvSpPr txBox="1"/>
            <p:nvPr/>
          </p:nvSpPr>
          <p:spPr>
            <a:xfrm>
              <a:off x="9914797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1.4.4</a:t>
              </a:r>
            </a:p>
          </p:txBody>
        </p:sp>
        <p:sp>
          <p:nvSpPr>
            <p:cNvPr id="179" name="TextBox 178"/>
            <p:cNvSpPr txBox="1"/>
            <p:nvPr/>
          </p:nvSpPr>
          <p:spPr>
            <a:xfrm>
              <a:off x="10489611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3.3.2</a:t>
              </a:r>
            </a:p>
          </p:txBody>
        </p:sp>
        <p:sp>
          <p:nvSpPr>
            <p:cNvPr id="180" name="TextBox 179"/>
            <p:cNvSpPr txBox="1"/>
            <p:nvPr/>
          </p:nvSpPr>
          <p:spPr>
            <a:xfrm>
              <a:off x="11051725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3.4.5</a:t>
              </a: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11618630" y="3576567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.0.4.0</a:t>
              </a:r>
            </a:p>
          </p:txBody>
        </p:sp>
      </p:grpSp>
      <p:grpSp>
        <p:nvGrpSpPr>
          <p:cNvPr id="182" name="Group 10"/>
          <p:cNvGrpSpPr/>
          <p:nvPr/>
        </p:nvGrpSpPr>
        <p:grpSpPr>
          <a:xfrm>
            <a:off x="286208" y="3829592"/>
            <a:ext cx="11655840" cy="382951"/>
            <a:chOff x="291946" y="3905887"/>
            <a:chExt cx="11889564" cy="390630"/>
          </a:xfrm>
        </p:grpSpPr>
        <p:sp>
          <p:nvSpPr>
            <p:cNvPr id="183" name="Rectangle 171"/>
            <p:cNvSpPr/>
            <p:nvPr/>
          </p:nvSpPr>
          <p:spPr bwMode="auto">
            <a:xfrm>
              <a:off x="291946" y="3905887"/>
              <a:ext cx="11889564" cy="365760"/>
            </a:xfrm>
            <a:prstGeom prst="rect">
              <a:avLst/>
            </a:prstGeom>
            <a:solidFill>
              <a:srgbClr val="FFFFFF">
                <a:lumMod val="95000"/>
                <a:alpha val="7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0" rIns="179285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HDP 1.3 </a:t>
              </a:r>
            </a:p>
            <a:p>
              <a:pPr marL="0" marR="0" lvl="0" indent="0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May 2013</a:t>
              </a:r>
            </a:p>
          </p:txBody>
        </p:sp>
        <p:sp>
          <p:nvSpPr>
            <p:cNvPr id="184" name="TextBox 183"/>
            <p:cNvSpPr txBox="1"/>
            <p:nvPr/>
          </p:nvSpPr>
          <p:spPr>
            <a:xfrm>
              <a:off x="1624971" y="3964118"/>
              <a:ext cx="1415892" cy="332399"/>
            </a:xfrm>
            <a:prstGeom prst="rect">
              <a:avLst/>
            </a:prstGeom>
            <a:noFill/>
          </p:spPr>
          <p:txBody>
            <a:bodyPr wrap="square" lIns="179285" tIns="0" rIns="179285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5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>
                          <a:lumMod val="95000"/>
                          <a:lumOff val="5000"/>
                        </a:srgbClr>
                      </a:gs>
                      <a:gs pos="30000">
                        <a:srgbClr val="000000">
                          <a:lumMod val="95000"/>
                          <a:lumOff val="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1.1.2</a:t>
              </a: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3650181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011.0</a:t>
              </a:r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4222941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0.11.0</a:t>
              </a: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4793689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0.94.6</a:t>
              </a: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7058915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0.7.0</a:t>
              </a:r>
            </a:p>
          </p:txBody>
        </p:sp>
        <p:sp>
          <p:nvSpPr>
            <p:cNvPr id="189" name="TextBox 188"/>
            <p:cNvSpPr txBox="1"/>
            <p:nvPr/>
          </p:nvSpPr>
          <p:spPr>
            <a:xfrm>
              <a:off x="8774182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1.4.3</a:t>
              </a:r>
            </a:p>
          </p:txBody>
        </p:sp>
        <p:sp>
          <p:nvSpPr>
            <p:cNvPr id="190" name="TextBox 189"/>
            <p:cNvSpPr txBox="1"/>
            <p:nvPr/>
          </p:nvSpPr>
          <p:spPr>
            <a:xfrm>
              <a:off x="9345408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1.3.1</a:t>
              </a:r>
            </a:p>
          </p:txBody>
        </p:sp>
        <p:sp>
          <p:nvSpPr>
            <p:cNvPr id="191" name="TextBox 190"/>
            <p:cNvSpPr txBox="1"/>
            <p:nvPr/>
          </p:nvSpPr>
          <p:spPr>
            <a:xfrm>
              <a:off x="9911133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1.2.5</a:t>
              </a: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10485947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3.3.2</a:t>
              </a:r>
            </a:p>
          </p:txBody>
        </p:sp>
        <p:sp>
          <p:nvSpPr>
            <p:cNvPr id="193" name="TextBox 192"/>
            <p:cNvSpPr txBox="1"/>
            <p:nvPr/>
          </p:nvSpPr>
          <p:spPr>
            <a:xfrm>
              <a:off x="11048061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3.4.5</a:t>
              </a:r>
            </a:p>
          </p:txBody>
        </p:sp>
        <p:sp>
          <p:nvSpPr>
            <p:cNvPr id="194" name="TextBox 193"/>
            <p:cNvSpPr txBox="1"/>
            <p:nvPr/>
          </p:nvSpPr>
          <p:spPr>
            <a:xfrm>
              <a:off x="11614966" y="4005668"/>
              <a:ext cx="524014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/>
                      </a:gs>
                      <a:gs pos="3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.0.4.0</a:t>
              </a:r>
            </a:p>
          </p:txBody>
        </p:sp>
      </p:grpSp>
      <p:grpSp>
        <p:nvGrpSpPr>
          <p:cNvPr id="196" name="Group 12"/>
          <p:cNvGrpSpPr/>
          <p:nvPr/>
        </p:nvGrpSpPr>
        <p:grpSpPr>
          <a:xfrm>
            <a:off x="286208" y="2988260"/>
            <a:ext cx="11655840" cy="382951"/>
            <a:chOff x="291946" y="3047684"/>
            <a:chExt cx="11889564" cy="390630"/>
          </a:xfrm>
        </p:grpSpPr>
        <p:grpSp>
          <p:nvGrpSpPr>
            <p:cNvPr id="197" name="Group 8"/>
            <p:cNvGrpSpPr/>
            <p:nvPr/>
          </p:nvGrpSpPr>
          <p:grpSpPr>
            <a:xfrm>
              <a:off x="291946" y="3047684"/>
              <a:ext cx="11889564" cy="365760"/>
              <a:chOff x="291946" y="3047684"/>
              <a:chExt cx="11889564" cy="365760"/>
            </a:xfrm>
          </p:grpSpPr>
          <p:sp>
            <p:nvSpPr>
              <p:cNvPr id="199" name="Rectangle 148"/>
              <p:cNvSpPr/>
              <p:nvPr/>
            </p:nvSpPr>
            <p:spPr bwMode="auto">
              <a:xfrm>
                <a:off x="291946" y="3047684"/>
                <a:ext cx="11889564" cy="365760"/>
              </a:xfrm>
              <a:prstGeom prst="rect">
                <a:avLst/>
              </a:prstGeom>
              <a:solidFill>
                <a:srgbClr val="FFFFFF">
                  <a:lumMod val="95000"/>
                  <a:alpha val="70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0" rIns="179285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Segoe UI" pitchFamily="34" charset="0"/>
                    <a:cs typeface="Segoe UI Light" panose="020B0502040204020203" pitchFamily="34" charset="0"/>
                  </a:rPr>
                  <a:t>HDP 2.1 </a:t>
                </a:r>
              </a:p>
              <a:p>
                <a:pPr marL="0" marR="0" lvl="0" indent="0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10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Segoe UI" pitchFamily="34" charset="0"/>
                    <a:cs typeface="Segoe UI Light" panose="020B0502040204020203" pitchFamily="34" charset="0"/>
                  </a:rPr>
                  <a:t>April 2014</a:t>
                </a:r>
              </a:p>
            </p:txBody>
          </p:sp>
          <p:sp>
            <p:nvSpPr>
              <p:cNvPr id="200" name="TextBox 199"/>
              <p:cNvSpPr txBox="1"/>
              <p:nvPr/>
            </p:nvSpPr>
            <p:spPr>
              <a:xfrm>
                <a:off x="3082627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0.4.0</a:t>
                </a:r>
              </a:p>
            </p:txBody>
          </p:sp>
          <p:sp>
            <p:nvSpPr>
              <p:cNvPr id="201" name="TextBox 200"/>
              <p:cNvSpPr txBox="1"/>
              <p:nvPr/>
            </p:nvSpPr>
            <p:spPr>
              <a:xfrm>
                <a:off x="3653845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0.12.1</a:t>
                </a:r>
              </a:p>
            </p:txBody>
          </p:sp>
          <p:sp>
            <p:nvSpPr>
              <p:cNvPr id="202" name="TextBox 201"/>
              <p:cNvSpPr txBox="1"/>
              <p:nvPr/>
            </p:nvSpPr>
            <p:spPr>
              <a:xfrm>
                <a:off x="4226605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0.13.0</a:t>
                </a:r>
              </a:p>
            </p:txBody>
          </p:sp>
          <p:sp>
            <p:nvSpPr>
              <p:cNvPr id="203" name="TextBox 202"/>
              <p:cNvSpPr txBox="1"/>
              <p:nvPr/>
            </p:nvSpPr>
            <p:spPr>
              <a:xfrm>
                <a:off x="4797353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0.98.0</a:t>
                </a:r>
              </a:p>
            </p:txBody>
          </p:sp>
          <p:sp>
            <p:nvSpPr>
              <p:cNvPr id="204" name="TextBox 203"/>
              <p:cNvSpPr txBox="1"/>
              <p:nvPr/>
            </p:nvSpPr>
            <p:spPr>
              <a:xfrm>
                <a:off x="5353117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4.0.0</a:t>
                </a:r>
              </a:p>
            </p:txBody>
          </p:sp>
          <p:sp>
            <p:nvSpPr>
              <p:cNvPr id="205" name="TextBox 204"/>
              <p:cNvSpPr txBox="1"/>
              <p:nvPr/>
            </p:nvSpPr>
            <p:spPr>
              <a:xfrm>
                <a:off x="5931621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1.5.1</a:t>
                </a:r>
              </a:p>
            </p:txBody>
          </p:sp>
          <p:sp>
            <p:nvSpPr>
              <p:cNvPr id="206" name="TextBox 205"/>
              <p:cNvSpPr txBox="1"/>
              <p:nvPr/>
            </p:nvSpPr>
            <p:spPr>
              <a:xfrm>
                <a:off x="6500465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0.9.1</a:t>
                </a:r>
              </a:p>
            </p:txBody>
          </p:sp>
          <p:sp>
            <p:nvSpPr>
              <p:cNvPr id="207" name="TextBox 206"/>
              <p:cNvSpPr txBox="1"/>
              <p:nvPr/>
            </p:nvSpPr>
            <p:spPr>
              <a:xfrm>
                <a:off x="7062579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0.9.0</a:t>
                </a:r>
              </a:p>
            </p:txBody>
          </p:sp>
          <p:sp>
            <p:nvSpPr>
              <p:cNvPr id="208" name="TextBox 207"/>
              <p:cNvSpPr txBox="1"/>
              <p:nvPr/>
            </p:nvSpPr>
            <p:spPr>
              <a:xfrm>
                <a:off x="7635392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4.7.2</a:t>
                </a:r>
              </a:p>
            </p:txBody>
          </p:sp>
          <p:sp>
            <p:nvSpPr>
              <p:cNvPr id="209" name="TextBox 208"/>
              <p:cNvSpPr txBox="1"/>
              <p:nvPr/>
            </p:nvSpPr>
            <p:spPr>
              <a:xfrm>
                <a:off x="8209382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0.5.0</a:t>
                </a:r>
              </a:p>
            </p:txBody>
          </p:sp>
          <p:sp>
            <p:nvSpPr>
              <p:cNvPr id="210" name="TextBox 209"/>
              <p:cNvSpPr txBox="1"/>
              <p:nvPr/>
            </p:nvSpPr>
            <p:spPr>
              <a:xfrm>
                <a:off x="8777846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1.4.4</a:t>
                </a:r>
              </a:p>
            </p:txBody>
          </p:sp>
          <p:sp>
            <p:nvSpPr>
              <p:cNvPr id="211" name="TextBox 210"/>
              <p:cNvSpPr txBox="1"/>
              <p:nvPr/>
            </p:nvSpPr>
            <p:spPr>
              <a:xfrm>
                <a:off x="9349072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1.4.0</a:t>
                </a:r>
              </a:p>
            </p:txBody>
          </p:sp>
          <p:sp>
            <p:nvSpPr>
              <p:cNvPr id="212" name="TextBox 211"/>
              <p:cNvSpPr txBox="1"/>
              <p:nvPr/>
            </p:nvSpPr>
            <p:spPr>
              <a:xfrm>
                <a:off x="9914797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1.5.1</a:t>
                </a:r>
              </a:p>
            </p:txBody>
          </p:sp>
          <p:sp>
            <p:nvSpPr>
              <p:cNvPr id="213" name="TextBox 212"/>
              <p:cNvSpPr txBox="1"/>
              <p:nvPr/>
            </p:nvSpPr>
            <p:spPr>
              <a:xfrm>
                <a:off x="10489611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4.0.0</a:t>
                </a:r>
              </a:p>
            </p:txBody>
          </p:sp>
          <p:sp>
            <p:nvSpPr>
              <p:cNvPr id="214" name="TextBox 213"/>
              <p:cNvSpPr txBox="1"/>
              <p:nvPr/>
            </p:nvSpPr>
            <p:spPr>
              <a:xfrm>
                <a:off x="11051725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3.4.5</a:t>
                </a:r>
              </a:p>
            </p:txBody>
          </p:sp>
          <p:sp>
            <p:nvSpPr>
              <p:cNvPr id="215" name="TextBox 214"/>
              <p:cNvSpPr txBox="1"/>
              <p:nvPr/>
            </p:nvSpPr>
            <p:spPr>
              <a:xfrm>
                <a:off x="11618630" y="3147465"/>
                <a:ext cx="524014" cy="1661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3505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2917">
                          <a:srgbClr val="000000"/>
                        </a:gs>
                        <a:gs pos="30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 panose="020B0502040204020203" pitchFamily="34" charset="0"/>
                    <a:ea typeface="MS PGothic" charset="0"/>
                    <a:cs typeface="Segoe UI Light" panose="020B0502040204020203" pitchFamily="34" charset="0"/>
                  </a:rPr>
                  <a:t>.0.4.0</a:t>
                </a:r>
              </a:p>
            </p:txBody>
          </p:sp>
        </p:grpSp>
        <p:sp>
          <p:nvSpPr>
            <p:cNvPr id="198" name="TextBox 197"/>
            <p:cNvSpPr txBox="1"/>
            <p:nvPr/>
          </p:nvSpPr>
          <p:spPr>
            <a:xfrm>
              <a:off x="1624971" y="3105915"/>
              <a:ext cx="1415892" cy="332399"/>
            </a:xfrm>
            <a:prstGeom prst="rect">
              <a:avLst/>
            </a:prstGeom>
            <a:noFill/>
          </p:spPr>
          <p:txBody>
            <a:bodyPr wrap="square" lIns="179285" tIns="0" rIns="179285" bIns="0" rtlCol="0">
              <a:spAutoFit/>
            </a:bodyPr>
            <a:lstStyle/>
            <a:p>
              <a:pPr marL="0" marR="0" lvl="0" indent="0" algn="ctr" defTabSz="913505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53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srgbClr val="000000">
                          <a:lumMod val="95000"/>
                          <a:lumOff val="5000"/>
                        </a:srgbClr>
                      </a:gs>
                      <a:gs pos="30000">
                        <a:srgbClr val="000000">
                          <a:lumMod val="95000"/>
                          <a:lumOff val="5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 panose="020B0502040204020203" pitchFamily="34" charset="0"/>
                  <a:ea typeface="MS PGothic" charset="0"/>
                  <a:cs typeface="Segoe UI Light" panose="020B0502040204020203" pitchFamily="34" charset="0"/>
                </a:rPr>
                <a:t>2.4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5015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75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75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850"/>
                            </p:stCondLst>
                            <p:childTnLst>
                              <p:par>
                                <p:cTn id="90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75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75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2" presetClass="entr" presetSubtype="8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4" grpId="0" animBg="1"/>
      <p:bldP spid="165" grpId="0" animBg="1"/>
      <p:bldP spid="166" grpId="0" animBg="1"/>
      <p:bldP spid="167" grpId="0" animBg="1"/>
      <p:bldP spid="16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W8q9nvbUqge8KSJaqY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HoroEdkWDhmzHUKCx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9jMNiwNEaB.UYgDeK_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zppt1v4kiZ.lOfzfZ9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1l5BbPxEKx9chejH.Y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VeEzlHfUqcYnv.pS.K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A4.d4ZVkq0ymVv4qSp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fD7BH2tk2958aunAjm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avOMwFQkWDwtu2_85i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Zi3nemNUmdO2DM5ZLt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psb1akxkGEnhV4SD_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W8q9nvbUqge8KSJaqY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6FVAZRl0yE2S.mT8yN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gL2Ys7pkGU52RJ.iho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HKAgTxsUu_NTHAYcUt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17CMXxpkOo_fBab1hv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hmxgKLFE2f.EkIC21u3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oHaJ8ef02hXPsmbRpc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s_spjS60e8MkzLxSgr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VNrQWGuk6s5uDKanMe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GF8YQ4X0edf.cv5I.N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Y3ZsIntkSOucrTvopW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W8q9nvbUqge8KSJaqYl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W8q9nvbUqge8KSJaqY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Y7VfVm0G2xUjB1rTI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hQalmDe0yAutBNASqa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MxjfPwdUussPGIfDqe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zcjc1yMkaVgrEH1eaZ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pEoCWEEWdbyWh4tPL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1byjBkR0C6IZy2YASOjA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latinLnBrk="0">
          <a:defRPr sz="2400" dirty="0" smtClean="0">
            <a:latin typeface="Segoe UI Light" panose="020B0502040204020203" pitchFamily="34" charset="0"/>
            <a:cs typeface="Segoe UI Light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odule 3 - Azure IoT Components and Structure.pptx" id="{8598D697-A27E-4829-A38A-4B1D49E24594}" vid="{320988B0-BFAB-4844-80CF-9EFBCCE89B79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 - IoT</Template>
  <TotalTime>2061</TotalTime>
  <Words>2732</Words>
  <Application>Microsoft Office PowerPoint</Application>
  <PresentationFormat>사용자 지정</PresentationFormat>
  <Paragraphs>1141</Paragraphs>
  <Slides>39</Slides>
  <Notes>2</Notes>
  <HiddenSlides>0</HiddenSlides>
  <MMClips>0</MMClips>
  <ScaleCrop>false</ScaleCrop>
  <HeadingPairs>
    <vt:vector size="6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9</vt:i4>
      </vt:variant>
    </vt:vector>
  </HeadingPairs>
  <TitlesOfParts>
    <vt:vector size="53" baseType="lpstr">
      <vt:lpstr>ＭＳ Ｐゴシック</vt:lpstr>
      <vt:lpstr>ＭＳ Ｐゴシック</vt:lpstr>
      <vt:lpstr>Segoe Light</vt:lpstr>
      <vt:lpstr>맑은 고딕</vt:lpstr>
      <vt:lpstr>Arial</vt:lpstr>
      <vt:lpstr>Calibri</vt:lpstr>
      <vt:lpstr>Calibri Light</vt:lpstr>
      <vt:lpstr>Consolas</vt:lpstr>
      <vt:lpstr>Cooper Black</vt:lpstr>
      <vt:lpstr>Courier New</vt:lpstr>
      <vt:lpstr>Segoe UI</vt:lpstr>
      <vt:lpstr>Segoe UI Light</vt:lpstr>
      <vt:lpstr>Segoe UI Semibold</vt:lpstr>
      <vt:lpstr>Office 테마</vt:lpstr>
      <vt:lpstr>Introduction to Hadoop</vt:lpstr>
      <vt:lpstr>Hadoop</vt:lpstr>
      <vt:lpstr>Introducing Apache Hadoop</vt:lpstr>
      <vt:lpstr>Hadoop은 큰 문제를 해결하기 시작함</vt:lpstr>
      <vt:lpstr>Data Volume</vt:lpstr>
      <vt:lpstr>Data Variety</vt:lpstr>
      <vt:lpstr>Data Velocity</vt:lpstr>
      <vt:lpstr>Hadoop은 여러 프로젝트로 구성된 플랫폼</vt:lpstr>
      <vt:lpstr>Hadoop 배포본은 프로젝트의 패키지</vt:lpstr>
      <vt:lpstr>HDFS</vt:lpstr>
      <vt:lpstr>파일 분할</vt:lpstr>
      <vt:lpstr>블록 배치</vt:lpstr>
      <vt:lpstr>HDFS Node Type</vt:lpstr>
      <vt:lpstr>HDFS Architecture</vt:lpstr>
      <vt:lpstr>HDFS에 파일 밀어넣기</vt:lpstr>
      <vt:lpstr>HDFS에서 파일 가져오기</vt:lpstr>
      <vt:lpstr>Failures, Failures, Failures</vt:lpstr>
      <vt:lpstr>내 결함성 (데이터 노드 실패)</vt:lpstr>
      <vt:lpstr>내 결함성 (NameNode 실패)</vt:lpstr>
      <vt:lpstr>라이브 수평 확장 및 재 조정(rebalancing)</vt:lpstr>
      <vt:lpstr>MapReduce</vt:lpstr>
      <vt:lpstr>Hadoop MapReduce</vt:lpstr>
      <vt:lpstr>MapReduce 프로그래밍 패러다임</vt:lpstr>
      <vt:lpstr>Map</vt:lpstr>
      <vt:lpstr>Reduce</vt:lpstr>
      <vt:lpstr>Hadoop Architecture</vt:lpstr>
      <vt:lpstr>Pre-execution: 태스크 제출</vt:lpstr>
      <vt:lpstr>Execution: Map</vt:lpstr>
      <vt:lpstr>Execution: Shuffle and reduce</vt:lpstr>
      <vt:lpstr>Post-processing: Data Summary</vt:lpstr>
      <vt:lpstr>Wordcount가 끝난 다음에는?</vt:lpstr>
      <vt:lpstr>YARN</vt:lpstr>
      <vt:lpstr>Hadoop 1.x vs. Hadoop 2.0</vt:lpstr>
      <vt:lpstr>YARN이 만들어진 동기</vt:lpstr>
      <vt:lpstr>YARN - 컨셉</vt:lpstr>
      <vt:lpstr>유연한 데이터 프로세싱 옵션</vt:lpstr>
      <vt:lpstr>많은 기여자들과 함께 발전</vt:lpstr>
      <vt:lpstr>Hadoop 비즈니스 응용 프로그램</vt:lpstr>
      <vt:lpstr>Hadoop 구현에서의 문제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Hadoop</dc:title>
  <dc:creator>Sang Hoon Kim</dc:creator>
  <cp:lastModifiedBy>Windows 사용자</cp:lastModifiedBy>
  <cp:revision>62</cp:revision>
  <dcterms:created xsi:type="dcterms:W3CDTF">2016-05-03T05:37:55Z</dcterms:created>
  <dcterms:modified xsi:type="dcterms:W3CDTF">2018-01-16T00:19:17Z</dcterms:modified>
</cp:coreProperties>
</file>